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99" r:id="rId3"/>
  </p:sldMasterIdLst>
  <p:notesMasterIdLst>
    <p:notesMasterId r:id="rId15"/>
  </p:notesMasterIdLst>
  <p:sldIdLst>
    <p:sldId id="2147470116" r:id="rId4"/>
    <p:sldId id="2147470121" r:id="rId5"/>
    <p:sldId id="2147470117" r:id="rId6"/>
    <p:sldId id="2147470122" r:id="rId7"/>
    <p:sldId id="2147470118" r:id="rId8"/>
    <p:sldId id="2147470123" r:id="rId9"/>
    <p:sldId id="2147470119" r:id="rId10"/>
    <p:sldId id="2147470124" r:id="rId11"/>
    <p:sldId id="2147470120" r:id="rId12"/>
    <p:sldId id="2147470125" r:id="rId13"/>
    <p:sldId id="28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52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7587EB-C8A1-4EE3-8A6D-4087B0FA5BE8}" v="24" dt="2023-02-21T13:55:37.6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7023" autoAdjust="0"/>
    <p:restoredTop sz="89840" autoAdjust="0"/>
  </p:normalViewPr>
  <p:slideViewPr>
    <p:cSldViewPr snapToGrid="0">
      <p:cViewPr varScale="1">
        <p:scale>
          <a:sx n="71" d="100"/>
          <a:sy n="71" d="100"/>
        </p:scale>
        <p:origin x="60" y="486"/>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th Yakubu" userId="ec3999ce-c06e-479a-bb64-bead0bb61c39" providerId="ADAL" clId="{5F7587EB-C8A1-4EE3-8A6D-4087B0FA5BE8}"/>
    <pc:docChg chg="undo custSel addSld delSld modSld">
      <pc:chgData name="Ruth Yakubu" userId="ec3999ce-c06e-479a-bb64-bead0bb61c39" providerId="ADAL" clId="{5F7587EB-C8A1-4EE3-8A6D-4087B0FA5BE8}" dt="2023-02-21T13:56:10.743" v="142" actId="1076"/>
      <pc:docMkLst>
        <pc:docMk/>
      </pc:docMkLst>
      <pc:sldChg chg="del">
        <pc:chgData name="Ruth Yakubu" userId="ec3999ce-c06e-479a-bb64-bead0bb61c39" providerId="ADAL" clId="{5F7587EB-C8A1-4EE3-8A6D-4087B0FA5BE8}" dt="2023-02-21T04:41:19.380" v="2" actId="2696"/>
        <pc:sldMkLst>
          <pc:docMk/>
          <pc:sldMk cId="3863116336" sldId="397"/>
        </pc:sldMkLst>
      </pc:sldChg>
      <pc:sldChg chg="del">
        <pc:chgData name="Ruth Yakubu" userId="ec3999ce-c06e-479a-bb64-bead0bb61c39" providerId="ADAL" clId="{5F7587EB-C8A1-4EE3-8A6D-4087B0FA5BE8}" dt="2023-02-21T04:41:19.380" v="2" actId="2696"/>
        <pc:sldMkLst>
          <pc:docMk/>
          <pc:sldMk cId="3492853216" sldId="406"/>
        </pc:sldMkLst>
      </pc:sldChg>
      <pc:sldChg chg="del">
        <pc:chgData name="Ruth Yakubu" userId="ec3999ce-c06e-479a-bb64-bead0bb61c39" providerId="ADAL" clId="{5F7587EB-C8A1-4EE3-8A6D-4087B0FA5BE8}" dt="2023-02-21T04:41:19.380" v="2" actId="2696"/>
        <pc:sldMkLst>
          <pc:docMk/>
          <pc:sldMk cId="495053605" sldId="514"/>
        </pc:sldMkLst>
      </pc:sldChg>
      <pc:sldChg chg="del">
        <pc:chgData name="Ruth Yakubu" userId="ec3999ce-c06e-479a-bb64-bead0bb61c39" providerId="ADAL" clId="{5F7587EB-C8A1-4EE3-8A6D-4087B0FA5BE8}" dt="2023-02-21T04:41:19.380" v="2" actId="2696"/>
        <pc:sldMkLst>
          <pc:docMk/>
          <pc:sldMk cId="4106148051" sldId="2079"/>
        </pc:sldMkLst>
      </pc:sldChg>
      <pc:sldChg chg="del">
        <pc:chgData name="Ruth Yakubu" userId="ec3999ce-c06e-479a-bb64-bead0bb61c39" providerId="ADAL" clId="{5F7587EB-C8A1-4EE3-8A6D-4087B0FA5BE8}" dt="2023-02-21T04:41:19.380" v="2" actId="2696"/>
        <pc:sldMkLst>
          <pc:docMk/>
          <pc:sldMk cId="3337234375" sldId="2145706062"/>
        </pc:sldMkLst>
      </pc:sldChg>
      <pc:sldChg chg="del">
        <pc:chgData name="Ruth Yakubu" userId="ec3999ce-c06e-479a-bb64-bead0bb61c39" providerId="ADAL" clId="{5F7587EB-C8A1-4EE3-8A6D-4087B0FA5BE8}" dt="2023-02-21T04:41:03.219" v="1" actId="47"/>
        <pc:sldMkLst>
          <pc:docMk/>
          <pc:sldMk cId="2029070074" sldId="2145706064"/>
        </pc:sldMkLst>
      </pc:sldChg>
      <pc:sldChg chg="del">
        <pc:chgData name="Ruth Yakubu" userId="ec3999ce-c06e-479a-bb64-bead0bb61c39" providerId="ADAL" clId="{5F7587EB-C8A1-4EE3-8A6D-4087B0FA5BE8}" dt="2023-02-21T04:41:19.380" v="2" actId="2696"/>
        <pc:sldMkLst>
          <pc:docMk/>
          <pc:sldMk cId="1110145354" sldId="2147470090"/>
        </pc:sldMkLst>
      </pc:sldChg>
      <pc:sldChg chg="del">
        <pc:chgData name="Ruth Yakubu" userId="ec3999ce-c06e-479a-bb64-bead0bb61c39" providerId="ADAL" clId="{5F7587EB-C8A1-4EE3-8A6D-4087B0FA5BE8}" dt="2023-02-21T04:41:19.380" v="2" actId="2696"/>
        <pc:sldMkLst>
          <pc:docMk/>
          <pc:sldMk cId="779151238" sldId="2147470091"/>
        </pc:sldMkLst>
      </pc:sldChg>
      <pc:sldChg chg="del">
        <pc:chgData name="Ruth Yakubu" userId="ec3999ce-c06e-479a-bb64-bead0bb61c39" providerId="ADAL" clId="{5F7587EB-C8A1-4EE3-8A6D-4087B0FA5BE8}" dt="2023-02-21T04:41:39.823" v="4" actId="2696"/>
        <pc:sldMkLst>
          <pc:docMk/>
          <pc:sldMk cId="1415560085" sldId="2147470095"/>
        </pc:sldMkLst>
      </pc:sldChg>
      <pc:sldChg chg="del">
        <pc:chgData name="Ruth Yakubu" userId="ec3999ce-c06e-479a-bb64-bead0bb61c39" providerId="ADAL" clId="{5F7587EB-C8A1-4EE3-8A6D-4087B0FA5BE8}" dt="2023-02-21T04:41:48.897" v="5" actId="2696"/>
        <pc:sldMkLst>
          <pc:docMk/>
          <pc:sldMk cId="1760524675" sldId="2147470096"/>
        </pc:sldMkLst>
      </pc:sldChg>
      <pc:sldChg chg="del">
        <pc:chgData name="Ruth Yakubu" userId="ec3999ce-c06e-479a-bb64-bead0bb61c39" providerId="ADAL" clId="{5F7587EB-C8A1-4EE3-8A6D-4087B0FA5BE8}" dt="2023-02-21T04:41:48.897" v="5" actId="2696"/>
        <pc:sldMkLst>
          <pc:docMk/>
          <pc:sldMk cId="2385361843" sldId="2147470098"/>
        </pc:sldMkLst>
      </pc:sldChg>
      <pc:sldChg chg="del">
        <pc:chgData name="Ruth Yakubu" userId="ec3999ce-c06e-479a-bb64-bead0bb61c39" providerId="ADAL" clId="{5F7587EB-C8A1-4EE3-8A6D-4087B0FA5BE8}" dt="2023-02-21T04:41:48.897" v="5" actId="2696"/>
        <pc:sldMkLst>
          <pc:docMk/>
          <pc:sldMk cId="1607647341" sldId="2147470099"/>
        </pc:sldMkLst>
      </pc:sldChg>
      <pc:sldChg chg="del">
        <pc:chgData name="Ruth Yakubu" userId="ec3999ce-c06e-479a-bb64-bead0bb61c39" providerId="ADAL" clId="{5F7587EB-C8A1-4EE3-8A6D-4087B0FA5BE8}" dt="2023-02-21T04:42:04.296" v="7" actId="47"/>
        <pc:sldMkLst>
          <pc:docMk/>
          <pc:sldMk cId="2741988011" sldId="2147470102"/>
        </pc:sldMkLst>
      </pc:sldChg>
      <pc:sldChg chg="del">
        <pc:chgData name="Ruth Yakubu" userId="ec3999ce-c06e-479a-bb64-bead0bb61c39" providerId="ADAL" clId="{5F7587EB-C8A1-4EE3-8A6D-4087B0FA5BE8}" dt="2023-02-21T04:42:11.665" v="8" actId="47"/>
        <pc:sldMkLst>
          <pc:docMk/>
          <pc:sldMk cId="195817330" sldId="2147470103"/>
        </pc:sldMkLst>
      </pc:sldChg>
      <pc:sldChg chg="del">
        <pc:chgData name="Ruth Yakubu" userId="ec3999ce-c06e-479a-bb64-bead0bb61c39" providerId="ADAL" clId="{5F7587EB-C8A1-4EE3-8A6D-4087B0FA5BE8}" dt="2023-02-21T04:42:11.665" v="8" actId="47"/>
        <pc:sldMkLst>
          <pc:docMk/>
          <pc:sldMk cId="2852277474" sldId="2147470104"/>
        </pc:sldMkLst>
      </pc:sldChg>
      <pc:sldChg chg="del">
        <pc:chgData name="Ruth Yakubu" userId="ec3999ce-c06e-479a-bb64-bead0bb61c39" providerId="ADAL" clId="{5F7587EB-C8A1-4EE3-8A6D-4087B0FA5BE8}" dt="2023-02-21T04:42:21.735" v="10" actId="2696"/>
        <pc:sldMkLst>
          <pc:docMk/>
          <pc:sldMk cId="3591487261" sldId="2147470106"/>
        </pc:sldMkLst>
      </pc:sldChg>
      <pc:sldChg chg="del">
        <pc:chgData name="Ruth Yakubu" userId="ec3999ce-c06e-479a-bb64-bead0bb61c39" providerId="ADAL" clId="{5F7587EB-C8A1-4EE3-8A6D-4087B0FA5BE8}" dt="2023-02-21T04:42:32.804" v="11" actId="2696"/>
        <pc:sldMkLst>
          <pc:docMk/>
          <pc:sldMk cId="4158247007" sldId="2147470108"/>
        </pc:sldMkLst>
      </pc:sldChg>
      <pc:sldChg chg="del">
        <pc:chgData name="Ruth Yakubu" userId="ec3999ce-c06e-479a-bb64-bead0bb61c39" providerId="ADAL" clId="{5F7587EB-C8A1-4EE3-8A6D-4087B0FA5BE8}" dt="2023-02-21T04:42:32.804" v="11" actId="2696"/>
        <pc:sldMkLst>
          <pc:docMk/>
          <pc:sldMk cId="2288674549" sldId="2147470109"/>
        </pc:sldMkLst>
      </pc:sldChg>
      <pc:sldChg chg="del">
        <pc:chgData name="Ruth Yakubu" userId="ec3999ce-c06e-479a-bb64-bead0bb61c39" providerId="ADAL" clId="{5F7587EB-C8A1-4EE3-8A6D-4087B0FA5BE8}" dt="2023-02-21T04:42:45.186" v="12" actId="2696"/>
        <pc:sldMkLst>
          <pc:docMk/>
          <pc:sldMk cId="2596220142" sldId="2147470111"/>
        </pc:sldMkLst>
      </pc:sldChg>
      <pc:sldChg chg="del">
        <pc:chgData name="Ruth Yakubu" userId="ec3999ce-c06e-479a-bb64-bead0bb61c39" providerId="ADAL" clId="{5F7587EB-C8A1-4EE3-8A6D-4087B0FA5BE8}" dt="2023-02-21T04:42:45.186" v="12" actId="2696"/>
        <pc:sldMkLst>
          <pc:docMk/>
          <pc:sldMk cId="2517034512" sldId="2147470113"/>
        </pc:sldMkLst>
      </pc:sldChg>
      <pc:sldChg chg="del">
        <pc:chgData name="Ruth Yakubu" userId="ec3999ce-c06e-479a-bb64-bead0bb61c39" providerId="ADAL" clId="{5F7587EB-C8A1-4EE3-8A6D-4087B0FA5BE8}" dt="2023-02-21T04:42:45.186" v="12" actId="2696"/>
        <pc:sldMkLst>
          <pc:docMk/>
          <pc:sldMk cId="3094119718" sldId="2147470114"/>
        </pc:sldMkLst>
      </pc:sldChg>
      <pc:sldChg chg="del">
        <pc:chgData name="Ruth Yakubu" userId="ec3999ce-c06e-479a-bb64-bead0bb61c39" providerId="ADAL" clId="{5F7587EB-C8A1-4EE3-8A6D-4087B0FA5BE8}" dt="2023-02-21T04:42:45.186" v="12" actId="2696"/>
        <pc:sldMkLst>
          <pc:docMk/>
          <pc:sldMk cId="3211657850" sldId="2147470115"/>
        </pc:sldMkLst>
      </pc:sldChg>
      <pc:sldChg chg="addSp delSp modSp new add del mod delAnim modAnim">
        <pc:chgData name="Ruth Yakubu" userId="ec3999ce-c06e-479a-bb64-bead0bb61c39" providerId="ADAL" clId="{5F7587EB-C8A1-4EE3-8A6D-4087B0FA5BE8}" dt="2023-02-21T13:56:10.743" v="142" actId="1076"/>
        <pc:sldMkLst>
          <pc:docMk/>
          <pc:sldMk cId="720736307" sldId="2147470121"/>
        </pc:sldMkLst>
        <pc:spChg chg="del">
          <ac:chgData name="Ruth Yakubu" userId="ec3999ce-c06e-479a-bb64-bead0bb61c39" providerId="ADAL" clId="{5F7587EB-C8A1-4EE3-8A6D-4087B0FA5BE8}" dt="2023-02-21T04:43:02.461" v="14" actId="478"/>
          <ac:spMkLst>
            <pc:docMk/>
            <pc:sldMk cId="720736307" sldId="2147470121"/>
            <ac:spMk id="2" creationId="{3192D1DF-F95F-2CF6-E388-0BD6120AA5F9}"/>
          </ac:spMkLst>
        </pc:spChg>
        <pc:picChg chg="add del mod">
          <ac:chgData name="Ruth Yakubu" userId="ec3999ce-c06e-479a-bb64-bead0bb61c39" providerId="ADAL" clId="{5F7587EB-C8A1-4EE3-8A6D-4087B0FA5BE8}" dt="2023-02-21T13:53:30.712" v="136" actId="478"/>
          <ac:picMkLst>
            <pc:docMk/>
            <pc:sldMk cId="720736307" sldId="2147470121"/>
            <ac:picMk id="2" creationId="{9A3ACB70-4194-FFF9-4B64-D2A84D7E5B58}"/>
          </ac:picMkLst>
        </pc:picChg>
        <pc:picChg chg="add del mod">
          <ac:chgData name="Ruth Yakubu" userId="ec3999ce-c06e-479a-bb64-bead0bb61c39" providerId="ADAL" clId="{5F7587EB-C8A1-4EE3-8A6D-4087B0FA5BE8}" dt="2023-02-21T06:23:22.415" v="48" actId="478"/>
          <ac:picMkLst>
            <pc:docMk/>
            <pc:sldMk cId="720736307" sldId="2147470121"/>
            <ac:picMk id="3" creationId="{21A816D7-6F2F-4A3F-7FB5-3DAE779AA6E8}"/>
          </ac:picMkLst>
        </pc:picChg>
        <pc:picChg chg="add mod">
          <ac:chgData name="Ruth Yakubu" userId="ec3999ce-c06e-479a-bb64-bead0bb61c39" providerId="ADAL" clId="{5F7587EB-C8A1-4EE3-8A6D-4087B0FA5BE8}" dt="2023-02-21T13:56:10.743" v="142" actId="1076"/>
          <ac:picMkLst>
            <pc:docMk/>
            <pc:sldMk cId="720736307" sldId="2147470121"/>
            <ac:picMk id="3" creationId="{5E2189E6-BFE8-BB1A-350C-D792845D3AA2}"/>
          </ac:picMkLst>
        </pc:picChg>
      </pc:sldChg>
      <pc:sldChg chg="addSp delSp modSp new add del mod setBg modClrScheme delAnim modAnim chgLayout">
        <pc:chgData name="Ruth Yakubu" userId="ec3999ce-c06e-479a-bb64-bead0bb61c39" providerId="ADAL" clId="{5F7587EB-C8A1-4EE3-8A6D-4087B0FA5BE8}" dt="2023-02-21T13:53:09.455" v="133" actId="1076"/>
        <pc:sldMkLst>
          <pc:docMk/>
          <pc:sldMk cId="3520370557" sldId="2147470122"/>
        </pc:sldMkLst>
        <pc:spChg chg="del mod ord">
          <ac:chgData name="Ruth Yakubu" userId="ec3999ce-c06e-479a-bb64-bead0bb61c39" providerId="ADAL" clId="{5F7587EB-C8A1-4EE3-8A6D-4087B0FA5BE8}" dt="2023-02-21T04:44:59.763" v="22" actId="700"/>
          <ac:spMkLst>
            <pc:docMk/>
            <pc:sldMk cId="3520370557" sldId="2147470122"/>
            <ac:spMk id="2" creationId="{6C5A681F-3D56-C114-FB75-CF5AE7B09576}"/>
          </ac:spMkLst>
        </pc:spChg>
        <pc:spChg chg="del">
          <ac:chgData name="Ruth Yakubu" userId="ec3999ce-c06e-479a-bb64-bead0bb61c39" providerId="ADAL" clId="{5F7587EB-C8A1-4EE3-8A6D-4087B0FA5BE8}" dt="2023-02-21T04:44:59.763" v="22" actId="700"/>
          <ac:spMkLst>
            <pc:docMk/>
            <pc:sldMk cId="3520370557" sldId="2147470122"/>
            <ac:spMk id="3" creationId="{E7B32C24-6864-8475-B5FE-6B9A62C1CE51}"/>
          </ac:spMkLst>
        </pc:spChg>
        <pc:spChg chg="del">
          <ac:chgData name="Ruth Yakubu" userId="ec3999ce-c06e-479a-bb64-bead0bb61c39" providerId="ADAL" clId="{5F7587EB-C8A1-4EE3-8A6D-4087B0FA5BE8}" dt="2023-02-21T04:44:59.763" v="22" actId="700"/>
          <ac:spMkLst>
            <pc:docMk/>
            <pc:sldMk cId="3520370557" sldId="2147470122"/>
            <ac:spMk id="4" creationId="{B047C79D-B503-12FE-7DF9-3A44778A162F}"/>
          </ac:spMkLst>
        </pc:spChg>
        <pc:spChg chg="add del">
          <ac:chgData name="Ruth Yakubu" userId="ec3999ce-c06e-479a-bb64-bead0bb61c39" providerId="ADAL" clId="{5F7587EB-C8A1-4EE3-8A6D-4087B0FA5BE8}" dt="2023-02-21T13:51:49.225" v="127" actId="22"/>
          <ac:spMkLst>
            <pc:docMk/>
            <pc:sldMk cId="3520370557" sldId="2147470122"/>
            <ac:spMk id="5" creationId="{77C13ED4-0520-4DA1-5195-D6534AD194B2}"/>
          </ac:spMkLst>
        </pc:spChg>
        <pc:spChg chg="del">
          <ac:chgData name="Ruth Yakubu" userId="ec3999ce-c06e-479a-bb64-bead0bb61c39" providerId="ADAL" clId="{5F7587EB-C8A1-4EE3-8A6D-4087B0FA5BE8}" dt="2023-02-21T04:44:59.763" v="22" actId="700"/>
          <ac:spMkLst>
            <pc:docMk/>
            <pc:sldMk cId="3520370557" sldId="2147470122"/>
            <ac:spMk id="5" creationId="{AFBF3489-A1E5-EB36-820C-3301AA7C5277}"/>
          </ac:spMkLst>
        </pc:spChg>
        <pc:spChg chg="del">
          <ac:chgData name="Ruth Yakubu" userId="ec3999ce-c06e-479a-bb64-bead0bb61c39" providerId="ADAL" clId="{5F7587EB-C8A1-4EE3-8A6D-4087B0FA5BE8}" dt="2023-02-21T04:44:59.763" v="22" actId="700"/>
          <ac:spMkLst>
            <pc:docMk/>
            <pc:sldMk cId="3520370557" sldId="2147470122"/>
            <ac:spMk id="6" creationId="{327A57D0-74F6-CB33-A176-8069359470F7}"/>
          </ac:spMkLst>
        </pc:spChg>
        <pc:spChg chg="add del mod ord">
          <ac:chgData name="Ruth Yakubu" userId="ec3999ce-c06e-479a-bb64-bead0bb61c39" providerId="ADAL" clId="{5F7587EB-C8A1-4EE3-8A6D-4087B0FA5BE8}" dt="2023-02-21T04:45:03.325" v="23" actId="478"/>
          <ac:spMkLst>
            <pc:docMk/>
            <pc:sldMk cId="3520370557" sldId="2147470122"/>
            <ac:spMk id="7" creationId="{BCFA5CE6-C617-5A6C-ABA3-BBF41A312D47}"/>
          </ac:spMkLst>
        </pc:spChg>
        <pc:picChg chg="add del mod">
          <ac:chgData name="Ruth Yakubu" userId="ec3999ce-c06e-479a-bb64-bead0bb61c39" providerId="ADAL" clId="{5F7587EB-C8A1-4EE3-8A6D-4087B0FA5BE8}" dt="2023-02-21T13:49:55.143" v="123" actId="478"/>
          <ac:picMkLst>
            <pc:docMk/>
            <pc:sldMk cId="3520370557" sldId="2147470122"/>
            <ac:picMk id="2" creationId="{4505A238-0CBE-8A40-0412-750784ABF077}"/>
          </ac:picMkLst>
        </pc:picChg>
        <pc:picChg chg="add mod">
          <ac:chgData name="Ruth Yakubu" userId="ec3999ce-c06e-479a-bb64-bead0bb61c39" providerId="ADAL" clId="{5F7587EB-C8A1-4EE3-8A6D-4087B0FA5BE8}" dt="2023-02-21T13:51:09.499" v="125"/>
          <ac:picMkLst>
            <pc:docMk/>
            <pc:sldMk cId="3520370557" sldId="2147470122"/>
            <ac:picMk id="3" creationId="{1D094706-8D6F-320B-8B97-C5F09C20F330}"/>
          </ac:picMkLst>
        </pc:picChg>
        <pc:picChg chg="add mod">
          <ac:chgData name="Ruth Yakubu" userId="ec3999ce-c06e-479a-bb64-bead0bb61c39" providerId="ADAL" clId="{5F7587EB-C8A1-4EE3-8A6D-4087B0FA5BE8}" dt="2023-02-21T13:53:09.455" v="133" actId="1076"/>
          <ac:picMkLst>
            <pc:docMk/>
            <pc:sldMk cId="3520370557" sldId="2147470122"/>
            <ac:picMk id="6" creationId="{2B50954B-9122-15F8-BAB3-77681EC6E1BE}"/>
          </ac:picMkLst>
        </pc:picChg>
        <pc:picChg chg="add del mod">
          <ac:chgData name="Ruth Yakubu" userId="ec3999ce-c06e-479a-bb64-bead0bb61c39" providerId="ADAL" clId="{5F7587EB-C8A1-4EE3-8A6D-4087B0FA5BE8}" dt="2023-02-21T13:17:15.709" v="64" actId="478"/>
          <ac:picMkLst>
            <pc:docMk/>
            <pc:sldMk cId="3520370557" sldId="2147470122"/>
            <ac:picMk id="8" creationId="{67CDAE10-A076-963C-183E-3CD70D0DB077}"/>
          </ac:picMkLst>
        </pc:picChg>
      </pc:sldChg>
      <pc:sldChg chg="addSp delSp modSp new add del mod delAnim modAnim">
        <pc:chgData name="Ruth Yakubu" userId="ec3999ce-c06e-479a-bb64-bead0bb61c39" providerId="ADAL" clId="{5F7587EB-C8A1-4EE3-8A6D-4087B0FA5BE8}" dt="2023-02-21T13:49:45.203" v="122" actId="14100"/>
        <pc:sldMkLst>
          <pc:docMk/>
          <pc:sldMk cId="3061401107" sldId="2147470123"/>
        </pc:sldMkLst>
        <pc:spChg chg="del">
          <ac:chgData name="Ruth Yakubu" userId="ec3999ce-c06e-479a-bb64-bead0bb61c39" providerId="ADAL" clId="{5F7587EB-C8A1-4EE3-8A6D-4087B0FA5BE8}" dt="2023-02-21T04:46:29.111" v="31" actId="478"/>
          <ac:spMkLst>
            <pc:docMk/>
            <pc:sldMk cId="3061401107" sldId="2147470123"/>
            <ac:spMk id="2" creationId="{40A69C48-DD95-E50C-E386-D1D039F9D689}"/>
          </ac:spMkLst>
        </pc:spChg>
        <pc:picChg chg="add del mod">
          <ac:chgData name="Ruth Yakubu" userId="ec3999ce-c06e-479a-bb64-bead0bb61c39" providerId="ADAL" clId="{5F7587EB-C8A1-4EE3-8A6D-4087B0FA5BE8}" dt="2023-02-21T13:47:13.601" v="117" actId="478"/>
          <ac:picMkLst>
            <pc:docMk/>
            <pc:sldMk cId="3061401107" sldId="2147470123"/>
            <ac:picMk id="2" creationId="{3865C56B-2D8F-13EA-614E-4E2B16F5A225}"/>
          </ac:picMkLst>
        </pc:picChg>
        <pc:picChg chg="add del mod">
          <ac:chgData name="Ruth Yakubu" userId="ec3999ce-c06e-479a-bb64-bead0bb61c39" providerId="ADAL" clId="{5F7587EB-C8A1-4EE3-8A6D-4087B0FA5BE8}" dt="2023-02-21T13:20:08.722" v="71" actId="478"/>
          <ac:picMkLst>
            <pc:docMk/>
            <pc:sldMk cId="3061401107" sldId="2147470123"/>
            <ac:picMk id="3" creationId="{BD939E9F-7B7C-172B-5A00-C0F086F1C1E1}"/>
          </ac:picMkLst>
        </pc:picChg>
        <pc:picChg chg="add mod">
          <ac:chgData name="Ruth Yakubu" userId="ec3999ce-c06e-479a-bb64-bead0bb61c39" providerId="ADAL" clId="{5F7587EB-C8A1-4EE3-8A6D-4087B0FA5BE8}" dt="2023-02-21T13:49:45.203" v="122" actId="14100"/>
          <ac:picMkLst>
            <pc:docMk/>
            <pc:sldMk cId="3061401107" sldId="2147470123"/>
            <ac:picMk id="4" creationId="{82F317A1-6FC8-C164-11CD-B647A072E825}"/>
          </ac:picMkLst>
        </pc:picChg>
      </pc:sldChg>
      <pc:sldChg chg="addSp delSp modSp new mod delAnim modAnim">
        <pc:chgData name="Ruth Yakubu" userId="ec3999ce-c06e-479a-bb64-bead0bb61c39" providerId="ADAL" clId="{5F7587EB-C8A1-4EE3-8A6D-4087B0FA5BE8}" dt="2023-02-21T13:46:59.029" v="114" actId="1076"/>
        <pc:sldMkLst>
          <pc:docMk/>
          <pc:sldMk cId="4076686693" sldId="2147470124"/>
        </pc:sldMkLst>
        <pc:spChg chg="del">
          <ac:chgData name="Ruth Yakubu" userId="ec3999ce-c06e-479a-bb64-bead0bb61c39" providerId="ADAL" clId="{5F7587EB-C8A1-4EE3-8A6D-4087B0FA5BE8}" dt="2023-02-21T04:48:06.878" v="38" actId="478"/>
          <ac:spMkLst>
            <pc:docMk/>
            <pc:sldMk cId="4076686693" sldId="2147470124"/>
            <ac:spMk id="2" creationId="{81268422-AD56-8926-D2F9-649EE46265E7}"/>
          </ac:spMkLst>
        </pc:spChg>
        <pc:picChg chg="add del mod">
          <ac:chgData name="Ruth Yakubu" userId="ec3999ce-c06e-479a-bb64-bead0bb61c39" providerId="ADAL" clId="{5F7587EB-C8A1-4EE3-8A6D-4087B0FA5BE8}" dt="2023-02-21T13:44:19.221" v="108" actId="478"/>
          <ac:picMkLst>
            <pc:docMk/>
            <pc:sldMk cId="4076686693" sldId="2147470124"/>
            <ac:picMk id="2" creationId="{EACAA09B-2CEC-E4DD-C992-569ABC5960E8}"/>
          </ac:picMkLst>
        </pc:picChg>
        <pc:picChg chg="add del mod">
          <ac:chgData name="Ruth Yakubu" userId="ec3999ce-c06e-479a-bb64-bead0bb61c39" providerId="ADAL" clId="{5F7587EB-C8A1-4EE3-8A6D-4087B0FA5BE8}" dt="2023-02-21T13:22:04.585" v="77" actId="478"/>
          <ac:picMkLst>
            <pc:docMk/>
            <pc:sldMk cId="4076686693" sldId="2147470124"/>
            <ac:picMk id="3" creationId="{4B6F2D0A-7E67-0EB9-BD22-099B7330EE80}"/>
          </ac:picMkLst>
        </pc:picChg>
        <pc:picChg chg="add mod">
          <ac:chgData name="Ruth Yakubu" userId="ec3999ce-c06e-479a-bb64-bead0bb61c39" providerId="ADAL" clId="{5F7587EB-C8A1-4EE3-8A6D-4087B0FA5BE8}" dt="2023-02-21T13:46:59.029" v="114" actId="1076"/>
          <ac:picMkLst>
            <pc:docMk/>
            <pc:sldMk cId="4076686693" sldId="2147470124"/>
            <ac:picMk id="4" creationId="{67281293-0F3E-105A-42B9-C3E6F6BC8115}"/>
          </ac:picMkLst>
        </pc:picChg>
      </pc:sldChg>
      <pc:sldChg chg="addSp delSp modSp new mod setBg addAnim delAnim modAnim">
        <pc:chgData name="Ruth Yakubu" userId="ec3999ce-c06e-479a-bb64-bead0bb61c39" providerId="ADAL" clId="{5F7587EB-C8A1-4EE3-8A6D-4087B0FA5BE8}" dt="2023-02-21T13:43:50.914" v="107" actId="1076"/>
        <pc:sldMkLst>
          <pc:docMk/>
          <pc:sldMk cId="1201776533" sldId="2147470125"/>
        </pc:sldMkLst>
        <pc:spChg chg="del">
          <ac:chgData name="Ruth Yakubu" userId="ec3999ce-c06e-479a-bb64-bead0bb61c39" providerId="ADAL" clId="{5F7587EB-C8A1-4EE3-8A6D-4087B0FA5BE8}" dt="2023-02-21T04:48:50.611" v="43" actId="478"/>
          <ac:spMkLst>
            <pc:docMk/>
            <pc:sldMk cId="1201776533" sldId="2147470125"/>
            <ac:spMk id="2" creationId="{44F5D098-11CE-2807-368B-176790EAA9AB}"/>
          </ac:spMkLst>
        </pc:spChg>
        <pc:spChg chg="add del mod">
          <ac:chgData name="Ruth Yakubu" userId="ec3999ce-c06e-479a-bb64-bead0bb61c39" providerId="ADAL" clId="{5F7587EB-C8A1-4EE3-8A6D-4087B0FA5BE8}" dt="2023-02-21T13:36:04.022" v="99" actId="478"/>
          <ac:spMkLst>
            <pc:docMk/>
            <pc:sldMk cId="1201776533" sldId="2147470125"/>
            <ac:spMk id="3" creationId="{8884AE9B-F5F8-80E3-A2EC-28AF55D6A1F0}"/>
          </ac:spMkLst>
        </pc:spChg>
        <pc:spChg chg="del">
          <ac:chgData name="Ruth Yakubu" userId="ec3999ce-c06e-479a-bb64-bead0bb61c39" providerId="ADAL" clId="{5F7587EB-C8A1-4EE3-8A6D-4087B0FA5BE8}" dt="2023-02-21T04:48:46.239" v="42"/>
          <ac:spMkLst>
            <pc:docMk/>
            <pc:sldMk cId="1201776533" sldId="2147470125"/>
            <ac:spMk id="3" creationId="{AB775F69-54A2-66BE-8693-D5353CFAAC83}"/>
          </ac:spMkLst>
        </pc:spChg>
        <pc:spChg chg="add del mod">
          <ac:chgData name="Ruth Yakubu" userId="ec3999ce-c06e-479a-bb64-bead0bb61c39" providerId="ADAL" clId="{5F7587EB-C8A1-4EE3-8A6D-4087B0FA5BE8}" dt="2023-02-21T13:39:24.714" v="101" actId="478"/>
          <ac:spMkLst>
            <pc:docMk/>
            <pc:sldMk cId="1201776533" sldId="2147470125"/>
            <ac:spMk id="7" creationId="{BEA2C7C1-FF7A-36CB-48A4-300DC9B22AEC}"/>
          </ac:spMkLst>
        </pc:spChg>
        <pc:spChg chg="add del">
          <ac:chgData name="Ruth Yakubu" userId="ec3999ce-c06e-479a-bb64-bead0bb61c39" providerId="ADAL" clId="{5F7587EB-C8A1-4EE3-8A6D-4087B0FA5BE8}" dt="2023-02-21T13:26:45.993" v="91" actId="26606"/>
          <ac:spMkLst>
            <pc:docMk/>
            <pc:sldMk cId="1201776533" sldId="2147470125"/>
            <ac:spMk id="9" creationId="{BA2DCFDE-0E4C-3979-3F8D-A49440DD2A61}"/>
          </ac:spMkLst>
        </pc:spChg>
        <pc:spChg chg="add del">
          <ac:chgData name="Ruth Yakubu" userId="ec3999ce-c06e-479a-bb64-bead0bb61c39" providerId="ADAL" clId="{5F7587EB-C8A1-4EE3-8A6D-4087B0FA5BE8}" dt="2023-02-21T13:26:37.407" v="89" actId="26606"/>
          <ac:spMkLst>
            <pc:docMk/>
            <pc:sldMk cId="1201776533" sldId="2147470125"/>
            <ac:spMk id="10" creationId="{3E443FD7-A66B-4AA0-872D-B088B9BC5F17}"/>
          </ac:spMkLst>
        </pc:spChg>
        <pc:spChg chg="add del">
          <ac:chgData name="Ruth Yakubu" userId="ec3999ce-c06e-479a-bb64-bead0bb61c39" providerId="ADAL" clId="{5F7587EB-C8A1-4EE3-8A6D-4087B0FA5BE8}" dt="2023-02-21T13:26:37.407" v="89" actId="26606"/>
          <ac:spMkLst>
            <pc:docMk/>
            <pc:sldMk cId="1201776533" sldId="2147470125"/>
            <ac:spMk id="12" creationId="{C04BE0EF-3561-49B4-9A29-F283168A91C7}"/>
          </ac:spMkLst>
        </pc:spChg>
        <pc:spChg chg="add del">
          <ac:chgData name="Ruth Yakubu" userId="ec3999ce-c06e-479a-bb64-bead0bb61c39" providerId="ADAL" clId="{5F7587EB-C8A1-4EE3-8A6D-4087B0FA5BE8}" dt="2023-02-21T13:26:45.993" v="91" actId="26606"/>
          <ac:spMkLst>
            <pc:docMk/>
            <pc:sldMk cId="1201776533" sldId="2147470125"/>
            <ac:spMk id="21" creationId="{B95B9BA8-1D69-4796-85F5-B6D0BD52354B}"/>
          </ac:spMkLst>
        </pc:spChg>
        <pc:grpChg chg="add del">
          <ac:chgData name="Ruth Yakubu" userId="ec3999ce-c06e-479a-bb64-bead0bb61c39" providerId="ADAL" clId="{5F7587EB-C8A1-4EE3-8A6D-4087B0FA5BE8}" dt="2023-02-21T13:26:45.993" v="91" actId="26606"/>
          <ac:grpSpMkLst>
            <pc:docMk/>
            <pc:sldMk cId="1201776533" sldId="2147470125"/>
            <ac:grpSpMk id="14" creationId="{D44E3F87-3D58-4B03-86B2-15A5C5B9C964}"/>
          </ac:grpSpMkLst>
        </pc:grpChg>
        <pc:picChg chg="add del mod">
          <ac:chgData name="Ruth Yakubu" userId="ec3999ce-c06e-479a-bb64-bead0bb61c39" providerId="ADAL" clId="{5F7587EB-C8A1-4EE3-8A6D-4087B0FA5BE8}" dt="2023-02-21T13:38:25.117" v="100" actId="478"/>
          <ac:picMkLst>
            <pc:docMk/>
            <pc:sldMk cId="1201776533" sldId="2147470125"/>
            <ac:picMk id="4" creationId="{2ACD15B2-8097-32B7-C78B-9ECB73CC5178}"/>
          </ac:picMkLst>
        </pc:picChg>
        <pc:picChg chg="add mod">
          <ac:chgData name="Ruth Yakubu" userId="ec3999ce-c06e-479a-bb64-bead0bb61c39" providerId="ADAL" clId="{5F7587EB-C8A1-4EE3-8A6D-4087B0FA5BE8}" dt="2023-02-21T13:36:03.176" v="98"/>
          <ac:picMkLst>
            <pc:docMk/>
            <pc:sldMk cId="1201776533" sldId="2147470125"/>
            <ac:picMk id="5" creationId="{CDE461C1-9171-86BB-36E9-CD6FD964E1A1}"/>
          </ac:picMkLst>
        </pc:picChg>
        <pc:picChg chg="add mod">
          <ac:chgData name="Ruth Yakubu" userId="ec3999ce-c06e-479a-bb64-bead0bb61c39" providerId="ADAL" clId="{5F7587EB-C8A1-4EE3-8A6D-4087B0FA5BE8}" dt="2023-02-21T13:43:50.914" v="107" actId="1076"/>
          <ac:picMkLst>
            <pc:docMk/>
            <pc:sldMk cId="1201776533" sldId="2147470125"/>
            <ac:picMk id="8" creationId="{E1442800-A92A-E29B-BE18-00C8D0ECE7A8}"/>
          </ac:picMkLst>
        </pc:picChg>
      </pc:sldChg>
      <pc:sldMasterChg chg="delSldLayout">
        <pc:chgData name="Ruth Yakubu" userId="ec3999ce-c06e-479a-bb64-bead0bb61c39" providerId="ADAL" clId="{5F7587EB-C8A1-4EE3-8A6D-4087B0FA5BE8}" dt="2023-02-21T04:41:19.380" v="2" actId="2696"/>
        <pc:sldMasterMkLst>
          <pc:docMk/>
          <pc:sldMasterMk cId="3778380194" sldId="2147483648"/>
        </pc:sldMasterMkLst>
        <pc:sldLayoutChg chg="del">
          <pc:chgData name="Ruth Yakubu" userId="ec3999ce-c06e-479a-bb64-bead0bb61c39" providerId="ADAL" clId="{5F7587EB-C8A1-4EE3-8A6D-4087B0FA5BE8}" dt="2023-02-21T04:41:19.380" v="2" actId="2696"/>
          <pc:sldLayoutMkLst>
            <pc:docMk/>
            <pc:sldMasterMk cId="3778380194" sldId="2147483648"/>
            <pc:sldLayoutMk cId="1278230641" sldId="2147483662"/>
          </pc:sldLayoutMkLst>
        </pc:sldLayoutChg>
      </pc:sldMasterChg>
      <pc:sldMasterChg chg="delSldLayout">
        <pc:chgData name="Ruth Yakubu" userId="ec3999ce-c06e-479a-bb64-bead0bb61c39" providerId="ADAL" clId="{5F7587EB-C8A1-4EE3-8A6D-4087B0FA5BE8}" dt="2023-02-21T04:41:48.897" v="5" actId="2696"/>
        <pc:sldMasterMkLst>
          <pc:docMk/>
          <pc:sldMasterMk cId="3493463066" sldId="2147483664"/>
        </pc:sldMasterMkLst>
        <pc:sldLayoutChg chg="del">
          <pc:chgData name="Ruth Yakubu" userId="ec3999ce-c06e-479a-bb64-bead0bb61c39" providerId="ADAL" clId="{5F7587EB-C8A1-4EE3-8A6D-4087B0FA5BE8}" dt="2023-02-21T04:41:48.897" v="5" actId="2696"/>
          <pc:sldLayoutMkLst>
            <pc:docMk/>
            <pc:sldMasterMk cId="3493463066" sldId="2147483664"/>
            <pc:sldLayoutMk cId="2056221211" sldId="214748369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EDAA1-3259-4134-84D7-D614B37E1EA9}" type="datetimeFigureOut">
              <a:rPr lang="en-US" smtClean="0"/>
              <a:t>2/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1D076-9339-4AAD-9195-F6676C1FB70D}" type="slidenum">
              <a:rPr lang="en-US" smtClean="0"/>
              <a:t>‹#›</a:t>
            </a:fld>
            <a:endParaRPr lang="en-US"/>
          </a:p>
        </p:txBody>
      </p:sp>
    </p:spTree>
    <p:extLst>
      <p:ext uri="{BB962C8B-B14F-4D97-AF65-F5344CB8AC3E}">
        <p14:creationId xmlns:p14="http://schemas.microsoft.com/office/powerpoint/2010/main" val="184043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27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2</a:t>
            </a:fld>
            <a:endParaRPr lang="en-US"/>
          </a:p>
        </p:txBody>
      </p:sp>
    </p:spTree>
    <p:extLst>
      <p:ext uri="{BB962C8B-B14F-4D97-AF65-F5344CB8AC3E}">
        <p14:creationId xmlns:p14="http://schemas.microsoft.com/office/powerpoint/2010/main" val="3081966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8208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1518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260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B1D076-9339-4AAD-9195-F6676C1FB70D}" type="slidenum">
              <a:rPr lang="en-US" smtClean="0"/>
              <a:t>8</a:t>
            </a:fld>
            <a:endParaRPr lang="en-US"/>
          </a:p>
        </p:txBody>
      </p:sp>
    </p:spTree>
    <p:extLst>
      <p:ext uri="{BB962C8B-B14F-4D97-AF65-F5344CB8AC3E}">
        <p14:creationId xmlns:p14="http://schemas.microsoft.com/office/powerpoint/2010/main" val="1755750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697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60DC36-8EFA-4378-9855-E019C55AC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918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43F26-6DBC-E12D-C8D4-00C3393CA8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3BA4A9-9FC5-2323-AE86-2C085F775F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A93185-7C7E-154A-C211-30A097D25DDD}"/>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11A55951-FE7D-FD04-2BBB-362A3DFAE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CA7DC7-1B1F-F13B-3047-0FE264361DE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967826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2C2FD-8679-EE19-15C9-600A36A62E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A04C57-4AEF-C62A-7F11-619FFD6FC7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88D23-1288-0196-C44A-AD4AFF220C84}"/>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DC82DB43-1C5D-277B-C60A-146B4540CB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939E3-CA52-F7B0-759F-E26FDC8B86E2}"/>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684975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EDA592-ADA6-7C91-49AA-D87886C9C2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5201BA-A8A0-2105-21CA-B20AF2CBFA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ABF485-56E6-2921-B603-16A1AA854CFF}"/>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638AC337-8F76-471D-9CA9-A552C5A913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26C6FE-3E62-C6D0-CE6D-A0D5BF4B83A5}"/>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999208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
        <p:nvSpPr>
          <p:cNvPr id="5" name="Title 1">
            <a:extLst>
              <a:ext uri="{FF2B5EF4-FFF2-40B4-BE49-F238E27FC236}">
                <a16:creationId xmlns:a16="http://schemas.microsoft.com/office/drawing/2014/main" id="{B29014AC-1D96-4F7E-962B-E0D1F044C5B2}"/>
              </a:ext>
            </a:extLst>
          </p:cNvPr>
          <p:cNvSpPr>
            <a:spLocks noGrp="1"/>
          </p:cNvSpPr>
          <p:nvPr>
            <p:ph type="title" hasCustomPrompt="1"/>
          </p:nvPr>
        </p:nvSpPr>
        <p:spPr>
          <a:xfrm>
            <a:off x="496735" y="2875001"/>
            <a:ext cx="9144000" cy="1107996"/>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Microsoft Ready </a:t>
            </a:r>
            <a:br>
              <a:rPr lang="en-US"/>
            </a:br>
            <a:r>
              <a:rPr lang="en-US"/>
              <a:t>Financial Services Industry</a:t>
            </a:r>
          </a:p>
        </p:txBody>
      </p:sp>
    </p:spTree>
    <p:extLst>
      <p:ext uri="{BB962C8B-B14F-4D97-AF65-F5344CB8AC3E}">
        <p14:creationId xmlns:p14="http://schemas.microsoft.com/office/powerpoint/2010/main" val="2772958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endParaRPr lang="en-US"/>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047450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650116" y="2381305"/>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73737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889957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02218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96130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018109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45233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3BC61-E9DB-0C02-E50F-2AF66CCA3A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6C0FBF-476A-1BF5-91AB-05C6BB17E6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6D6B3F-C474-078A-5898-5C59D1A37EF9}"/>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DAA50EB6-28BB-0EED-E0A1-EB63BAFFC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565E4B-17C3-A0EC-95C4-629A0F3FDCD0}"/>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1859830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56091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327874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11951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19019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436575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6719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94063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724812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421434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2134571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703F7-F219-8CF8-AEF1-69E67A1C2B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C5825A0-A387-BDD8-398E-B1157B1071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FA93C3-406A-B5E4-60A6-EBC0C48A88E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21323654-3289-FB69-AA4E-809C6B6EC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E4BBE9-24CA-A8F0-D410-F52EA7D6DF93}"/>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142597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153168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86692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85579988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85648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03022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86354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50088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1274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31121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474519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D5D9A-C762-107A-18C8-AC210A8AE1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DDA4EB-46C4-4F07-2D80-8FF959BA40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812AD1-223A-D90E-97D0-6D0FB14450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57B784-B943-8CCD-B274-7FBF59862C50}"/>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0F65B213-8D2A-158A-9E17-2A34A1F6A8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73C027-FA50-B3F7-3416-8DDC77DCC5FA}"/>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792133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1pPr>
            <a:lvl2pPr marL="346553" indent="0">
              <a:buNone/>
              <a:defRPr sz="24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2pPr>
            <a:lvl3pPr marL="584607" indent="0">
              <a:buNone/>
              <a:defRPr sz="20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3pPr>
            <a:lvl4pPr marL="814563"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4pPr>
            <a:lvl5pPr marL="1050997"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1556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5583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91691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with photo and ti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15B53B3-A500-4259-9EF2-B5F4A6E75783}"/>
              </a:ext>
            </a:extLst>
          </p:cNvPr>
          <p:cNvPicPr>
            <a:picLocks noChangeAspect="1"/>
          </p:cNvPicPr>
          <p:nvPr userDrawn="1"/>
        </p:nvPicPr>
        <p:blipFill rotWithShape="1">
          <a:blip r:embed="rId3"/>
          <a:srcRect l="181" b="1585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051509EC-CF9C-9747-835D-778F73946761}"/>
              </a:ext>
            </a:extLst>
          </p:cNvPr>
          <p:cNvSpPr/>
          <p:nvPr userDrawn="1"/>
        </p:nvSpPr>
        <p:spPr bwMode="auto">
          <a:xfrm>
            <a:off x="0" y="0"/>
            <a:ext cx="11914980" cy="6858000"/>
          </a:xfrm>
          <a:prstGeom prst="rect">
            <a:avLst/>
          </a:prstGeom>
          <a:gradFill>
            <a:gsLst>
              <a:gs pos="32000">
                <a:schemeClr val="accent2">
                  <a:alpha val="66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Semilight" panose="020B0402040204020203" pitchFamily="34" charset="0"/>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170117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F864C-44C4-4000-952D-01F31BFB3F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392E06-C914-467E-9D4F-BD763EDA2D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EFBAF-82E9-49AD-B2CF-7D154E024431}"/>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5AD8006A-94B1-44F7-972D-56767EDE3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E7BFAB-D84B-45E1-A0BD-2516AC14F8AC}"/>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378256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7FBE-061D-452C-A8A6-213063CFD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3A3535-1708-499D-B5D2-7D8F9FD18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06063-A112-49AB-80C8-504D99ECD771}"/>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6344C8D5-F898-4318-A76D-1FBD873291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976EC76-E8E8-4FFA-B671-7FA2F3EF5DE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2739175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CABF-E3C1-431A-A69C-D4881CC43F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584226-69DA-4211-B2C8-C29FD05A4A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F82DB-B518-40FD-8A66-44B874C055FB}"/>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FCC1CCEE-725F-4745-837B-87EFB70E71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61522A-E0E6-406B-BF30-A7C7A57294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8572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C9BDC-6F21-4EF5-A8DD-E35E27EACA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968D5F-2AB6-42D3-A54E-AB3E603251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5AB07F-D5F7-402A-AE4E-027BF1CA912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108EDC-3863-43B9-93C7-37465DC73B2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A777D452-958D-4159-A9A4-16DD29680A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9654B6-1460-48B9-AC7E-592F68BAB276}"/>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16567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C848-926A-4FD3-A311-A100A2662B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8ECD90-B4F0-4DFB-BB3D-F231020789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5A6C3A-033E-474B-AB97-D8291A04E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32B928-3A23-4FCA-AD1F-E45A467B54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DC8376-6FC6-4A11-B0DB-9A148E9C00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80206F-8846-425C-A56E-16FFBA442014}"/>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8" name="Footer Placeholder 7">
            <a:extLst>
              <a:ext uri="{FF2B5EF4-FFF2-40B4-BE49-F238E27FC236}">
                <a16:creationId xmlns:a16="http://schemas.microsoft.com/office/drawing/2014/main" id="{6A45E89F-12CF-4561-A5F2-1E05783A306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EB4DFE4-927C-43B1-A061-5CB97FFB33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37478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0E367-8DA0-4655-BCBC-F4280D864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F9592-AA3C-4CF8-A5DB-4D010195A43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4" name="Footer Placeholder 3">
            <a:extLst>
              <a:ext uri="{FF2B5EF4-FFF2-40B4-BE49-F238E27FC236}">
                <a16:creationId xmlns:a16="http://schemas.microsoft.com/office/drawing/2014/main" id="{3C2C9377-F93E-4515-852A-264707755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AED076D-476B-42BA-8795-14FE6C1E6974}"/>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259414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F2757-4B23-55D1-1890-B36C2206293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3C1E8F-36AC-E68C-D58A-967CDA2654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6ABD6C-803E-BBA2-5921-76BC7E38B83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3696C1-E0E4-C706-5443-D4EABB648D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78D1A6-1E16-E2A2-C289-128E53BB74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4D331D-738A-A616-DA25-AF5FE4209784}"/>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8" name="Footer Placeholder 7">
            <a:extLst>
              <a:ext uri="{FF2B5EF4-FFF2-40B4-BE49-F238E27FC236}">
                <a16:creationId xmlns:a16="http://schemas.microsoft.com/office/drawing/2014/main" id="{69A82B92-2A7A-7A4F-013D-D82D479857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C48F5B8-B86E-70BA-9739-23D021DC73D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778605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A599B4-6AB2-4190-82B5-7667EE1E922A}"/>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3" name="Footer Placeholder 2">
            <a:extLst>
              <a:ext uri="{FF2B5EF4-FFF2-40B4-BE49-F238E27FC236}">
                <a16:creationId xmlns:a16="http://schemas.microsoft.com/office/drawing/2014/main" id="{1B8FBFB3-AD86-4E39-B8AE-B4EC14528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9A4AF55-C114-4B60-9A20-56B00A11B3B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685888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3DA1-5CB8-405D-9613-8A9B7BC56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BB15-A24D-42E9-9CAE-BB82722630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F0849D-D3C3-462A-9751-4EAB0B9145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0DD20-7A20-4574-98A4-427795876739}"/>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54D0ED2B-71C4-421A-9DB0-676E00C10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C4572A-ADFC-4C53-BCA2-42BDF693BC4D}"/>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0028567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F5C67-EEEC-4AB0-9653-0F80D6B109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D50D6D-5277-4324-AF23-5FAF00783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75275657-2BF9-4761-96B6-50EE3CFCF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3C3F7B-A4C8-4F9D-8165-BC5186EA0929}"/>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6" name="Footer Placeholder 5">
            <a:extLst>
              <a:ext uri="{FF2B5EF4-FFF2-40B4-BE49-F238E27FC236}">
                <a16:creationId xmlns:a16="http://schemas.microsoft.com/office/drawing/2014/main" id="{DE696EA5-2FA2-464D-982F-C53E6426A8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11B398-191B-4AB1-86ED-00D0046EACF5}"/>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0661893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B869-BFB2-4C20-8AB1-46704BB3D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F007DB-4F12-4428-9C48-5120DF0704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FFA8DA-0E31-4CA6-BBFC-2467AAD1D30B}"/>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064974BD-9845-459A-9AAA-12731E2507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A71B0A-FDFB-4B2C-A9EC-2334C590013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1104552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0B5D73-1652-4A8E-B5A3-101523D729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B7FB99-7425-444D-B602-01B672BCE8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EA9C5-552A-48A1-AB54-ED54209B3B48}"/>
              </a:ext>
            </a:extLst>
          </p:cNvPr>
          <p:cNvSpPr>
            <a:spLocks noGrp="1"/>
          </p:cNvSpPr>
          <p:nvPr>
            <p:ph type="dt" sz="half" idx="10"/>
          </p:nvPr>
        </p:nvSpPr>
        <p:spPr/>
        <p:txBody>
          <a:body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1A83AAA3-4155-48FB-8F00-16DBE0C9C2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694EAE-CB3C-4DEF-A66D-583C7AAC92D8}"/>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72760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67A8F-9E8C-5AE0-C47B-C0A448AFA9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44DB873-D5FF-CA11-EE6F-EDF862FB972B}"/>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4" name="Footer Placeholder 3">
            <a:extLst>
              <a:ext uri="{FF2B5EF4-FFF2-40B4-BE49-F238E27FC236}">
                <a16:creationId xmlns:a16="http://schemas.microsoft.com/office/drawing/2014/main" id="{A4FC3001-0CC4-AC87-50FA-E19FDEDCB6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51312D-B5E3-535C-933C-D2DC30F21586}"/>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778355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23C1FB-7C59-1E83-78E8-7EA5D4A5548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3" name="Footer Placeholder 2">
            <a:extLst>
              <a:ext uri="{FF2B5EF4-FFF2-40B4-BE49-F238E27FC236}">
                <a16:creationId xmlns:a16="http://schemas.microsoft.com/office/drawing/2014/main" id="{75FBF964-7003-6691-7240-0AD68A3075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4CFE08-8958-5D50-306D-4F2325AA2228}"/>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3495307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1755A-168A-8290-7516-5CAB9C2FA7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B8E404A-AF7C-CCDD-B8C8-4D81BAE441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7DA971-BE60-E120-2887-178D3BE2DE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FDEEC6-E780-A8E0-B238-2850C87E3D8A}"/>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42DBE03C-F747-2F78-4DDE-8E93D9EB4B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C20B3A-C9FA-C114-CC6F-DA33FECDE77E}"/>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4038773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E8890-B92B-0B88-A960-809D3B976A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1478A22-B598-DFEE-27E9-0139EBE4FB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4D7C5B-0A2F-DD0B-8F1C-4DD438108D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F51264-C106-1F8F-EA80-B4A26ED46252}"/>
              </a:ext>
            </a:extLst>
          </p:cNvPr>
          <p:cNvSpPr>
            <a:spLocks noGrp="1"/>
          </p:cNvSpPr>
          <p:nvPr>
            <p:ph type="dt" sz="half" idx="10"/>
          </p:nvPr>
        </p:nvSpPr>
        <p:spPr/>
        <p:txBody>
          <a:bodyPr/>
          <a:lstStyle/>
          <a:p>
            <a:fld id="{D829BE88-F889-4EE5-A943-7C869EE15060}" type="datetimeFigureOut">
              <a:rPr lang="en-US" smtClean="0"/>
              <a:t>2/21/2023</a:t>
            </a:fld>
            <a:endParaRPr lang="en-US"/>
          </a:p>
        </p:txBody>
      </p:sp>
      <p:sp>
        <p:nvSpPr>
          <p:cNvPr id="6" name="Footer Placeholder 5">
            <a:extLst>
              <a:ext uri="{FF2B5EF4-FFF2-40B4-BE49-F238E27FC236}">
                <a16:creationId xmlns:a16="http://schemas.microsoft.com/office/drawing/2014/main" id="{229DA68D-78D5-B7F8-66DB-0E891503B9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73C78D-412E-7247-8E5B-88048FCAFF74}"/>
              </a:ext>
            </a:extLst>
          </p:cNvPr>
          <p:cNvSpPr>
            <a:spLocks noGrp="1"/>
          </p:cNvSpPr>
          <p:nvPr>
            <p:ph type="sldNum" sz="quarter" idx="12"/>
          </p:nvPr>
        </p:nvSpPr>
        <p:spPr/>
        <p:txBody>
          <a:bodyPr/>
          <a:lstStyle/>
          <a:p>
            <a:fld id="{20A90710-DB93-42C0-AB29-573C3E4FBBC0}" type="slidenum">
              <a:rPr lang="en-US" smtClean="0"/>
              <a:t>‹#›</a:t>
            </a:fld>
            <a:endParaRPr lang="en-US"/>
          </a:p>
        </p:txBody>
      </p:sp>
    </p:spTree>
    <p:extLst>
      <p:ext uri="{BB962C8B-B14F-4D97-AF65-F5344CB8AC3E}">
        <p14:creationId xmlns:p14="http://schemas.microsoft.com/office/powerpoint/2010/main" val="236795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605AC-7B3A-A958-6B1A-4E1CCB00450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87FC33-CC17-6600-8626-BB2779F6EC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D6BCE-B632-E611-D118-E12EA1F4CC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29BE88-F889-4EE5-A943-7C869EE15060}" type="datetimeFigureOut">
              <a:rPr lang="en-US" smtClean="0"/>
              <a:t>2/21/2023</a:t>
            </a:fld>
            <a:endParaRPr lang="en-US"/>
          </a:p>
        </p:txBody>
      </p:sp>
      <p:sp>
        <p:nvSpPr>
          <p:cNvPr id="5" name="Footer Placeholder 4">
            <a:extLst>
              <a:ext uri="{FF2B5EF4-FFF2-40B4-BE49-F238E27FC236}">
                <a16:creationId xmlns:a16="http://schemas.microsoft.com/office/drawing/2014/main" id="{6A9D74C5-6C25-5E7B-FF95-1B150093CD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7E0F86-84C5-5720-FBDA-A8B136E66B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A90710-DB93-42C0-AB29-573C3E4FBBC0}" type="slidenum">
              <a:rPr lang="en-US" smtClean="0"/>
              <a:t>‹#›</a:t>
            </a:fld>
            <a:endParaRPr lang="en-US"/>
          </a:p>
        </p:txBody>
      </p:sp>
    </p:spTree>
    <p:extLst>
      <p:ext uri="{BB962C8B-B14F-4D97-AF65-F5344CB8AC3E}">
        <p14:creationId xmlns:p14="http://schemas.microsoft.com/office/powerpoint/2010/main" val="3778380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9346306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3445CA-54C1-4DDE-A216-DD2414E3F5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6395A-6879-4E93-B24E-067F88AC1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0FF5B-A6A6-4F0F-AA5D-3F0F69A43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DA1498-92C7-4E4B-8045-C9195F453964}" type="datetimeFigureOut">
              <a:rPr lang="en-US" smtClean="0"/>
              <a:t>2/21/2023</a:t>
            </a:fld>
            <a:endParaRPr lang="en-US" dirty="0"/>
          </a:p>
        </p:txBody>
      </p:sp>
      <p:sp>
        <p:nvSpPr>
          <p:cNvPr id="5" name="Footer Placeholder 4">
            <a:extLst>
              <a:ext uri="{FF2B5EF4-FFF2-40B4-BE49-F238E27FC236}">
                <a16:creationId xmlns:a16="http://schemas.microsoft.com/office/drawing/2014/main" id="{FA798FAA-76CC-42EF-8BE0-466A41BBAB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149FF02-6890-4E10-B958-1097AD32C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EDF93-2BFD-41CA-ABC7-B039102F3792}" type="slidenum">
              <a:rPr lang="en-US" smtClean="0"/>
              <a:t>‹#›</a:t>
            </a:fld>
            <a:endParaRPr lang="en-US" dirty="0"/>
          </a:p>
        </p:txBody>
      </p:sp>
    </p:spTree>
    <p:extLst>
      <p:ext uri="{BB962C8B-B14F-4D97-AF65-F5344CB8AC3E}">
        <p14:creationId xmlns:p14="http://schemas.microsoft.com/office/powerpoint/2010/main" val="50056304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5.xml"/><Relationship Id="rId1" Type="http://schemas.openxmlformats.org/officeDocument/2006/relationships/video" Target="https://www.youtube.com/embed/DdTBOv--ts4?feature=oembed"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ideo" Target="https://www.youtube.com/embed/nsKaNoiRriA?feature=oembed" TargetMode="Externa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video" Target="https://www.youtube.com/embed/3dm1WtyfoE0?feature=oembed"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video" Target="https://www.youtube.com/embed/7DGuv5JnfbI?feature=oembe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video" Target="https://www.youtube.com/embed/FJMsjknoorg?feature=oembed" TargetMode="Externa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548390"/>
          </a:xfrm>
        </p:spPr>
        <p:txBody>
          <a:bodyPr wrap="square" lIns="0" tIns="0" rIns="0" bIns="0" anchor="t">
            <a:spAutoFit/>
          </a:bodyPr>
          <a:lstStyle/>
          <a:p>
            <a:r>
              <a:rPr lang="en-US" b="1" dirty="0">
                <a:solidFill>
                  <a:schemeClr val="bg1"/>
                </a:solidFill>
              </a:rPr>
              <a:t>Azure </a:t>
            </a:r>
            <a:r>
              <a:rPr lang="en-US" b="1">
                <a:solidFill>
                  <a:schemeClr val="bg1"/>
                </a:solidFill>
              </a:rPr>
              <a:t>Responsible AI (RAI) dashboard</a:t>
            </a:r>
            <a:br>
              <a:rPr lang="en-US" dirty="0">
                <a:solidFill>
                  <a:schemeClr val="bg1"/>
                </a:solidFill>
              </a:rPr>
            </a:br>
            <a:r>
              <a:rPr lang="en-US" sz="4000" dirty="0">
                <a:solidFill>
                  <a:schemeClr val="accent4"/>
                </a:solidFill>
              </a:rPr>
              <a:t>Ruth Yakubu </a:t>
            </a:r>
            <a:br>
              <a:rPr lang="en-US" sz="4000" dirty="0">
                <a:solidFill>
                  <a:schemeClr val="accent4"/>
                </a:solidFill>
              </a:rPr>
            </a:br>
            <a:r>
              <a:rPr lang="en-US" sz="2400" dirty="0">
                <a:solidFill>
                  <a:schemeClr val="accent4"/>
                </a:solidFill>
              </a:rPr>
              <a:t>(Cloud Advocate)</a:t>
            </a: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238784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nline Media 7">
            <a:hlinkClick r:id="" action="ppaction://media"/>
            <a:extLst>
              <a:ext uri="{FF2B5EF4-FFF2-40B4-BE49-F238E27FC236}">
                <a16:creationId xmlns:a16="http://schemas.microsoft.com/office/drawing/2014/main" id="{E1442800-A92A-E29B-BE18-00C8D0ECE7A8}"/>
              </a:ext>
            </a:extLst>
          </p:cNvPr>
          <p:cNvPicPr>
            <a:picLocks noRot="1" noChangeAspect="1"/>
          </p:cNvPicPr>
          <p:nvPr>
            <a:videoFile r:link="rId1"/>
          </p:nvPr>
        </p:nvPicPr>
        <p:blipFill>
          <a:blip r:embed="rId3">
            <a:extLst>
              <a:ext uri="{28A0092B-C50C-407E-A947-70E740481C1C}">
                <a14:useLocalDpi xmlns:a14="http://schemas.microsoft.com/office/drawing/2010/main" val="0"/>
              </a:ext>
            </a:extLst>
          </a:blip>
          <a:srcRect/>
          <a:stretch/>
        </p:blipFill>
        <p:spPr>
          <a:xfrm>
            <a:off x="658906" y="388283"/>
            <a:ext cx="11073653" cy="6228926"/>
          </a:xfrm>
          <a:prstGeom prst="rect">
            <a:avLst/>
          </a:prstGeom>
        </p:spPr>
      </p:pic>
    </p:spTree>
    <p:extLst>
      <p:ext uri="{BB962C8B-B14F-4D97-AF65-F5344CB8AC3E}">
        <p14:creationId xmlns:p14="http://schemas.microsoft.com/office/powerpoint/2010/main" val="1201776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2A21665-C64F-4BDA-B2DE-442D70605718}"/>
              </a:ext>
              <a:ext uri="{C183D7F6-B498-43B3-948B-1728B52AA6E4}">
                <adec:decorative xmlns:adec="http://schemas.microsoft.com/office/drawing/2017/decorative" val="1"/>
              </a:ext>
            </a:extLst>
          </p:cNvPr>
          <p:cNvGrpSpPr/>
          <p:nvPr/>
        </p:nvGrpSpPr>
        <p:grpSpPr>
          <a:xfrm>
            <a:off x="4325258" y="1544068"/>
            <a:ext cx="3541486" cy="3769865"/>
            <a:chOff x="4325258" y="1229517"/>
            <a:chExt cx="3541486" cy="3769865"/>
          </a:xfrm>
        </p:grpSpPr>
        <p:sp>
          <p:nvSpPr>
            <p:cNvPr id="12" name="Diamond 11">
              <a:extLst>
                <a:ext uri="{FF2B5EF4-FFF2-40B4-BE49-F238E27FC236}">
                  <a16:creationId xmlns:a16="http://schemas.microsoft.com/office/drawing/2014/main" id="{7DC8B409-5FAC-4539-B25A-26BE925A48AF}"/>
                </a:ext>
              </a:extLst>
            </p:cNvPr>
            <p:cNvSpPr/>
            <p:nvPr/>
          </p:nvSpPr>
          <p:spPr>
            <a:xfrm>
              <a:off x="4792319" y="2392018"/>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3" name="Diamond 12">
              <a:extLst>
                <a:ext uri="{FF2B5EF4-FFF2-40B4-BE49-F238E27FC236}">
                  <a16:creationId xmlns:a16="http://schemas.microsoft.com/office/drawing/2014/main" id="{91498E2F-539C-46D3-AF7C-BB1DAE76B114}"/>
                </a:ext>
              </a:extLst>
            </p:cNvPr>
            <p:cNvSpPr/>
            <p:nvPr/>
          </p:nvSpPr>
          <p:spPr>
            <a:xfrm>
              <a:off x="4325258" y="1229517"/>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15" name="Title 1">
            <a:extLst>
              <a:ext uri="{FF2B5EF4-FFF2-40B4-BE49-F238E27FC236}">
                <a16:creationId xmlns:a16="http://schemas.microsoft.com/office/drawing/2014/main" id="{FA061601-468D-486D-B8EE-42BD1BE3ADCC}"/>
              </a:ext>
            </a:extLst>
          </p:cNvPr>
          <p:cNvSpPr>
            <a:spLocks noGrp="1"/>
          </p:cNvSpPr>
          <p:nvPr>
            <p:ph type="ctrTitle"/>
          </p:nvPr>
        </p:nvSpPr>
        <p:spPr>
          <a:xfrm>
            <a:off x="1524000" y="2930403"/>
            <a:ext cx="9144000" cy="997196"/>
          </a:xfrm>
        </p:spPr>
        <p:txBody>
          <a:bodyPr lIns="0" tIns="0" rIns="0" bIns="0" anchor="ctr">
            <a:spAutoFit/>
          </a:bodyPr>
          <a:lstStyle/>
          <a:p>
            <a:r>
              <a:rPr lang="en-US" sz="7200" b="1" dirty="0">
                <a:solidFill>
                  <a:schemeClr val="bg1"/>
                </a:solidFill>
              </a:rPr>
              <a:t>Thank You</a:t>
            </a:r>
            <a:endParaRPr lang="en-US" sz="7200" dirty="0">
              <a:solidFill>
                <a:schemeClr val="accent4"/>
              </a:solidFill>
            </a:endParaRPr>
          </a:p>
        </p:txBody>
      </p:sp>
    </p:spTree>
    <p:extLst>
      <p:ext uri="{BB962C8B-B14F-4D97-AF65-F5344CB8AC3E}">
        <p14:creationId xmlns:p14="http://schemas.microsoft.com/office/powerpoint/2010/main" val="1923038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a:hlinkClick r:id="" action="ppaction://media"/>
            <a:extLst>
              <a:ext uri="{FF2B5EF4-FFF2-40B4-BE49-F238E27FC236}">
                <a16:creationId xmlns:a16="http://schemas.microsoft.com/office/drawing/2014/main" id="{5E2189E6-BFE8-BB1A-350C-D792845D3AA2}"/>
              </a:ext>
            </a:extLst>
          </p:cNvPr>
          <p:cNvPicPr>
            <a:picLocks noRot="1" noChangeAspect="1"/>
          </p:cNvPicPr>
          <p:nvPr>
            <a:videoFile r:link="rId1"/>
          </p:nvPr>
        </p:nvPicPr>
        <p:blipFill>
          <a:blip r:embed="rId4">
            <a:extLst>
              <a:ext uri="{28A0092B-C50C-407E-A947-70E740481C1C}">
                <a14:useLocalDpi xmlns:a14="http://schemas.microsoft.com/office/drawing/2010/main" val="0"/>
              </a:ext>
            </a:extLst>
          </a:blip>
          <a:srcRect/>
          <a:stretch/>
        </p:blipFill>
        <p:spPr>
          <a:xfrm>
            <a:off x="488576" y="274827"/>
            <a:ext cx="11214847" cy="6308346"/>
          </a:xfrm>
          <a:prstGeom prst="rect">
            <a:avLst/>
          </a:prstGeom>
        </p:spPr>
      </p:pic>
    </p:spTree>
    <p:extLst>
      <p:ext uri="{BB962C8B-B14F-4D97-AF65-F5344CB8AC3E}">
        <p14:creationId xmlns:p14="http://schemas.microsoft.com/office/powerpoint/2010/main" val="720736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Error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657314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nline Media 5">
            <a:hlinkClick r:id="" action="ppaction://media"/>
            <a:extLst>
              <a:ext uri="{FF2B5EF4-FFF2-40B4-BE49-F238E27FC236}">
                <a16:creationId xmlns:a16="http://schemas.microsoft.com/office/drawing/2014/main" id="{2B50954B-9122-15F8-BAB3-77681EC6E1BE}"/>
              </a:ext>
            </a:extLst>
          </p:cNvPr>
          <p:cNvPicPr>
            <a:picLocks noRot="1" noChangeAspect="1"/>
          </p:cNvPicPr>
          <p:nvPr>
            <a:videoFile r:link="rId1"/>
          </p:nvPr>
        </p:nvPicPr>
        <p:blipFill>
          <a:blip r:embed="rId3">
            <a:extLst>
              <a:ext uri="{28A0092B-C50C-407E-A947-70E740481C1C}">
                <a14:useLocalDpi xmlns:a14="http://schemas.microsoft.com/office/drawing/2010/main" val="0"/>
              </a:ext>
            </a:extLst>
          </a:blip>
          <a:srcRect/>
          <a:stretch/>
        </p:blipFill>
        <p:spPr>
          <a:xfrm>
            <a:off x="407894" y="229442"/>
            <a:ext cx="11376212" cy="6399115"/>
          </a:xfrm>
          <a:prstGeom prst="rect">
            <a:avLst/>
          </a:prstGeom>
        </p:spPr>
      </p:pic>
    </p:spTree>
    <p:extLst>
      <p:ext uri="{BB962C8B-B14F-4D97-AF65-F5344CB8AC3E}">
        <p14:creationId xmlns:p14="http://schemas.microsoft.com/office/powerpoint/2010/main" val="352037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Model Overview</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834753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82F317A1-6FC8-C164-11CD-B647A072E825}"/>
              </a:ext>
            </a:extLst>
          </p:cNvPr>
          <p:cNvPicPr>
            <a:picLocks noRot="1" noChangeAspect="1"/>
          </p:cNvPicPr>
          <p:nvPr>
            <a:videoFile r:link="rId1"/>
          </p:nvPr>
        </p:nvPicPr>
        <p:blipFill>
          <a:blip r:embed="rId3">
            <a:extLst>
              <a:ext uri="{28A0092B-C50C-407E-A947-70E740481C1C}">
                <a14:useLocalDpi xmlns:a14="http://schemas.microsoft.com/office/drawing/2010/main" val="0"/>
              </a:ext>
            </a:extLst>
          </a:blip>
          <a:srcRect/>
          <a:stretch/>
        </p:blipFill>
        <p:spPr>
          <a:xfrm>
            <a:off x="591671" y="328193"/>
            <a:ext cx="10979523" cy="6175980"/>
          </a:xfrm>
          <a:prstGeom prst="rect">
            <a:avLst/>
          </a:prstGeom>
        </p:spPr>
      </p:pic>
    </p:spTree>
    <p:extLst>
      <p:ext uri="{BB962C8B-B14F-4D97-AF65-F5344CB8AC3E}">
        <p14:creationId xmlns:p14="http://schemas.microsoft.com/office/powerpoint/2010/main" val="3061401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Data Analysis</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512287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67281293-0F3E-105A-42B9-C3E6F6BC8115}"/>
              </a:ext>
            </a:extLst>
          </p:cNvPr>
          <p:cNvPicPr>
            <a:picLocks noRot="1" noChangeAspect="1"/>
          </p:cNvPicPr>
          <p:nvPr>
            <a:videoFile r:link="rId1"/>
          </p:nvPr>
        </p:nvPicPr>
        <p:blipFill>
          <a:blip r:embed="rId4">
            <a:extLst>
              <a:ext uri="{28A0092B-C50C-407E-A947-70E740481C1C}">
                <a14:useLocalDpi xmlns:a14="http://schemas.microsoft.com/office/drawing/2010/main" val="0"/>
              </a:ext>
            </a:extLst>
          </a:blip>
          <a:srcRect/>
          <a:stretch/>
        </p:blipFill>
        <p:spPr>
          <a:xfrm>
            <a:off x="441512" y="248353"/>
            <a:ext cx="11308976" cy="6361294"/>
          </a:xfrm>
          <a:prstGeom prst="rect">
            <a:avLst/>
          </a:prstGeom>
        </p:spPr>
      </p:pic>
    </p:spTree>
    <p:extLst>
      <p:ext uri="{BB962C8B-B14F-4D97-AF65-F5344CB8AC3E}">
        <p14:creationId xmlns:p14="http://schemas.microsoft.com/office/powerpoint/2010/main" val="407668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16857" y="3584312"/>
            <a:ext cx="9798844" cy="2492990"/>
          </a:xfrm>
        </p:spPr>
        <p:txBody>
          <a:bodyPr wrap="square" lIns="0" tIns="0" rIns="0" bIns="0" anchor="t">
            <a:spAutoFit/>
          </a:bodyPr>
          <a:lstStyle/>
          <a:p>
            <a:br>
              <a:rPr lang="en-US" b="1" dirty="0">
                <a:solidFill>
                  <a:schemeClr val="bg1"/>
                </a:solidFill>
              </a:rPr>
            </a:br>
            <a:r>
              <a:rPr lang="en-US" b="1" dirty="0">
                <a:solidFill>
                  <a:schemeClr val="bg1"/>
                </a:solidFill>
              </a:rPr>
              <a:t>Feature Importance</a:t>
            </a:r>
            <a:br>
              <a:rPr lang="en-US" dirty="0">
                <a:solidFill>
                  <a:schemeClr val="bg1"/>
                </a:solidFill>
              </a:rPr>
            </a:br>
            <a:endParaRPr lang="en-US"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nvGrpSpPr>
          <p:cNvPr id="7" name="Group 6" descr="Icon of chart. ">
            <a:extLst>
              <a:ext uri="{FF2B5EF4-FFF2-40B4-BE49-F238E27FC236}">
                <a16:creationId xmlns:a16="http://schemas.microsoft.com/office/drawing/2014/main" id="{B95DF07A-CE7E-4D89-9AA0-25F4FFF3B9C7}"/>
              </a:ext>
            </a:extLst>
          </p:cNvPr>
          <p:cNvGrpSpPr/>
          <p:nvPr/>
        </p:nvGrpSpPr>
        <p:grpSpPr>
          <a:xfrm>
            <a:off x="5843878" y="2933244"/>
            <a:ext cx="489958" cy="492680"/>
            <a:chOff x="2025650" y="4786313"/>
            <a:chExt cx="285750" cy="287338"/>
          </a:xfrm>
          <a:solidFill>
            <a:schemeClr val="bg1"/>
          </a:solidFill>
        </p:grpSpPr>
        <p:sp>
          <p:nvSpPr>
            <p:cNvPr id="8" name="Freeform 565">
              <a:extLst>
                <a:ext uri="{FF2B5EF4-FFF2-40B4-BE49-F238E27FC236}">
                  <a16:creationId xmlns:a16="http://schemas.microsoft.com/office/drawing/2014/main" id="{548FC78B-EF83-4185-A63D-1A5A85640B62}"/>
                </a:ext>
              </a:extLst>
            </p:cNvPr>
            <p:cNvSpPr>
              <a:spLocks noEditPoints="1"/>
            </p:cNvSpPr>
            <p:nvPr/>
          </p:nvSpPr>
          <p:spPr bwMode="auto">
            <a:xfrm>
              <a:off x="2025650" y="4786313"/>
              <a:ext cx="285750" cy="287338"/>
            </a:xfrm>
            <a:custGeom>
              <a:avLst/>
              <a:gdLst>
                <a:gd name="T0" fmla="*/ 812 w 903"/>
                <a:gd name="T1" fmla="*/ 500 h 903"/>
                <a:gd name="T2" fmla="*/ 810 w 903"/>
                <a:gd name="T3" fmla="*/ 505 h 903"/>
                <a:gd name="T4" fmla="*/ 806 w 903"/>
                <a:gd name="T5" fmla="*/ 509 h 903"/>
                <a:gd name="T6" fmla="*/ 800 w 903"/>
                <a:gd name="T7" fmla="*/ 511 h 903"/>
                <a:gd name="T8" fmla="*/ 105 w 903"/>
                <a:gd name="T9" fmla="*/ 511 h 903"/>
                <a:gd name="T10" fmla="*/ 99 w 903"/>
                <a:gd name="T11" fmla="*/ 510 h 903"/>
                <a:gd name="T12" fmla="*/ 95 w 903"/>
                <a:gd name="T13" fmla="*/ 507 h 903"/>
                <a:gd name="T14" fmla="*/ 92 w 903"/>
                <a:gd name="T15" fmla="*/ 502 h 903"/>
                <a:gd name="T16" fmla="*/ 90 w 903"/>
                <a:gd name="T17" fmla="*/ 496 h 903"/>
                <a:gd name="T18" fmla="*/ 90 w 903"/>
                <a:gd name="T19" fmla="*/ 105 h 903"/>
                <a:gd name="T20" fmla="*/ 92 w 903"/>
                <a:gd name="T21" fmla="*/ 100 h 903"/>
                <a:gd name="T22" fmla="*/ 95 w 903"/>
                <a:gd name="T23" fmla="*/ 94 h 903"/>
                <a:gd name="T24" fmla="*/ 99 w 903"/>
                <a:gd name="T25" fmla="*/ 91 h 903"/>
                <a:gd name="T26" fmla="*/ 105 w 903"/>
                <a:gd name="T27" fmla="*/ 90 h 903"/>
                <a:gd name="T28" fmla="*/ 800 w 903"/>
                <a:gd name="T29" fmla="*/ 90 h 903"/>
                <a:gd name="T30" fmla="*/ 806 w 903"/>
                <a:gd name="T31" fmla="*/ 92 h 903"/>
                <a:gd name="T32" fmla="*/ 810 w 903"/>
                <a:gd name="T33" fmla="*/ 96 h 903"/>
                <a:gd name="T34" fmla="*/ 812 w 903"/>
                <a:gd name="T35" fmla="*/ 102 h 903"/>
                <a:gd name="T36" fmla="*/ 813 w 903"/>
                <a:gd name="T37" fmla="*/ 496 h 903"/>
                <a:gd name="T38" fmla="*/ 15 w 903"/>
                <a:gd name="T39" fmla="*/ 0 h 903"/>
                <a:gd name="T40" fmla="*/ 9 w 903"/>
                <a:gd name="T41" fmla="*/ 1 h 903"/>
                <a:gd name="T42" fmla="*/ 5 w 903"/>
                <a:gd name="T43" fmla="*/ 4 h 903"/>
                <a:gd name="T44" fmla="*/ 1 w 903"/>
                <a:gd name="T45" fmla="*/ 8 h 903"/>
                <a:gd name="T46" fmla="*/ 0 w 903"/>
                <a:gd name="T47" fmla="*/ 15 h 903"/>
                <a:gd name="T48" fmla="*/ 0 w 903"/>
                <a:gd name="T49" fmla="*/ 590 h 903"/>
                <a:gd name="T50" fmla="*/ 2 w 903"/>
                <a:gd name="T51" fmla="*/ 595 h 903"/>
                <a:gd name="T52" fmla="*/ 7 w 903"/>
                <a:gd name="T53" fmla="*/ 599 h 903"/>
                <a:gd name="T54" fmla="*/ 12 w 903"/>
                <a:gd name="T55" fmla="*/ 602 h 903"/>
                <a:gd name="T56" fmla="*/ 437 w 903"/>
                <a:gd name="T57" fmla="*/ 602 h 903"/>
                <a:gd name="T58" fmla="*/ 260 w 903"/>
                <a:gd name="T59" fmla="*/ 877 h 903"/>
                <a:gd name="T60" fmla="*/ 257 w 903"/>
                <a:gd name="T61" fmla="*/ 883 h 903"/>
                <a:gd name="T62" fmla="*/ 256 w 903"/>
                <a:gd name="T63" fmla="*/ 888 h 903"/>
                <a:gd name="T64" fmla="*/ 257 w 903"/>
                <a:gd name="T65" fmla="*/ 893 h 903"/>
                <a:gd name="T66" fmla="*/ 260 w 903"/>
                <a:gd name="T67" fmla="*/ 899 h 903"/>
                <a:gd name="T68" fmla="*/ 265 w 903"/>
                <a:gd name="T69" fmla="*/ 902 h 903"/>
                <a:gd name="T70" fmla="*/ 271 w 903"/>
                <a:gd name="T71" fmla="*/ 903 h 903"/>
                <a:gd name="T72" fmla="*/ 277 w 903"/>
                <a:gd name="T73" fmla="*/ 902 h 903"/>
                <a:gd name="T74" fmla="*/ 281 w 903"/>
                <a:gd name="T75" fmla="*/ 899 h 903"/>
                <a:gd name="T76" fmla="*/ 621 w 903"/>
                <a:gd name="T77" fmla="*/ 899 h 903"/>
                <a:gd name="T78" fmla="*/ 627 w 903"/>
                <a:gd name="T79" fmla="*/ 902 h 903"/>
                <a:gd name="T80" fmla="*/ 632 w 903"/>
                <a:gd name="T81" fmla="*/ 903 h 903"/>
                <a:gd name="T82" fmla="*/ 637 w 903"/>
                <a:gd name="T83" fmla="*/ 902 h 903"/>
                <a:gd name="T84" fmla="*/ 643 w 903"/>
                <a:gd name="T85" fmla="*/ 899 h 903"/>
                <a:gd name="T86" fmla="*/ 646 w 903"/>
                <a:gd name="T87" fmla="*/ 893 h 903"/>
                <a:gd name="T88" fmla="*/ 647 w 903"/>
                <a:gd name="T89" fmla="*/ 888 h 903"/>
                <a:gd name="T90" fmla="*/ 646 w 903"/>
                <a:gd name="T91" fmla="*/ 883 h 903"/>
                <a:gd name="T92" fmla="*/ 643 w 903"/>
                <a:gd name="T93" fmla="*/ 877 h 903"/>
                <a:gd name="T94" fmla="*/ 467 w 903"/>
                <a:gd name="T95" fmla="*/ 602 h 903"/>
                <a:gd name="T96" fmla="*/ 892 w 903"/>
                <a:gd name="T97" fmla="*/ 602 h 903"/>
                <a:gd name="T98" fmla="*/ 897 w 903"/>
                <a:gd name="T99" fmla="*/ 599 h 903"/>
                <a:gd name="T100" fmla="*/ 900 w 903"/>
                <a:gd name="T101" fmla="*/ 595 h 903"/>
                <a:gd name="T102" fmla="*/ 902 w 903"/>
                <a:gd name="T103" fmla="*/ 590 h 903"/>
                <a:gd name="T104" fmla="*/ 903 w 903"/>
                <a:gd name="T105" fmla="*/ 15 h 903"/>
                <a:gd name="T106" fmla="*/ 902 w 903"/>
                <a:gd name="T107" fmla="*/ 8 h 903"/>
                <a:gd name="T108" fmla="*/ 899 w 903"/>
                <a:gd name="T109" fmla="*/ 4 h 903"/>
                <a:gd name="T110" fmla="*/ 894 w 903"/>
                <a:gd name="T111" fmla="*/ 1 h 903"/>
                <a:gd name="T112" fmla="*/ 888 w 903"/>
                <a:gd name="T11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813" y="496"/>
                  </a:moveTo>
                  <a:lnTo>
                    <a:pt x="812" y="500"/>
                  </a:lnTo>
                  <a:lnTo>
                    <a:pt x="811" y="502"/>
                  </a:lnTo>
                  <a:lnTo>
                    <a:pt x="810" y="505"/>
                  </a:lnTo>
                  <a:lnTo>
                    <a:pt x="808" y="507"/>
                  </a:lnTo>
                  <a:lnTo>
                    <a:pt x="806" y="509"/>
                  </a:lnTo>
                  <a:lnTo>
                    <a:pt x="804" y="510"/>
                  </a:lnTo>
                  <a:lnTo>
                    <a:pt x="800" y="511"/>
                  </a:lnTo>
                  <a:lnTo>
                    <a:pt x="797" y="511"/>
                  </a:lnTo>
                  <a:lnTo>
                    <a:pt x="105" y="511"/>
                  </a:lnTo>
                  <a:lnTo>
                    <a:pt x="102" y="511"/>
                  </a:lnTo>
                  <a:lnTo>
                    <a:pt x="99" y="510"/>
                  </a:lnTo>
                  <a:lnTo>
                    <a:pt x="97" y="509"/>
                  </a:lnTo>
                  <a:lnTo>
                    <a:pt x="95" y="507"/>
                  </a:lnTo>
                  <a:lnTo>
                    <a:pt x="93" y="505"/>
                  </a:lnTo>
                  <a:lnTo>
                    <a:pt x="92" y="502"/>
                  </a:lnTo>
                  <a:lnTo>
                    <a:pt x="90" y="500"/>
                  </a:lnTo>
                  <a:lnTo>
                    <a:pt x="90" y="496"/>
                  </a:lnTo>
                  <a:lnTo>
                    <a:pt x="90" y="316"/>
                  </a:lnTo>
                  <a:lnTo>
                    <a:pt x="90" y="105"/>
                  </a:lnTo>
                  <a:lnTo>
                    <a:pt x="90" y="102"/>
                  </a:lnTo>
                  <a:lnTo>
                    <a:pt x="92" y="100"/>
                  </a:lnTo>
                  <a:lnTo>
                    <a:pt x="93" y="96"/>
                  </a:lnTo>
                  <a:lnTo>
                    <a:pt x="95" y="94"/>
                  </a:lnTo>
                  <a:lnTo>
                    <a:pt x="97" y="92"/>
                  </a:lnTo>
                  <a:lnTo>
                    <a:pt x="99" y="91"/>
                  </a:lnTo>
                  <a:lnTo>
                    <a:pt x="102" y="90"/>
                  </a:lnTo>
                  <a:lnTo>
                    <a:pt x="105" y="90"/>
                  </a:lnTo>
                  <a:lnTo>
                    <a:pt x="798" y="90"/>
                  </a:lnTo>
                  <a:lnTo>
                    <a:pt x="800" y="90"/>
                  </a:lnTo>
                  <a:lnTo>
                    <a:pt x="804" y="91"/>
                  </a:lnTo>
                  <a:lnTo>
                    <a:pt x="806" y="92"/>
                  </a:lnTo>
                  <a:lnTo>
                    <a:pt x="808" y="94"/>
                  </a:lnTo>
                  <a:lnTo>
                    <a:pt x="810" y="96"/>
                  </a:lnTo>
                  <a:lnTo>
                    <a:pt x="811" y="100"/>
                  </a:lnTo>
                  <a:lnTo>
                    <a:pt x="812" y="102"/>
                  </a:lnTo>
                  <a:lnTo>
                    <a:pt x="813" y="105"/>
                  </a:lnTo>
                  <a:lnTo>
                    <a:pt x="813" y="496"/>
                  </a:lnTo>
                  <a:close/>
                  <a:moveTo>
                    <a:pt x="888" y="0"/>
                  </a:moveTo>
                  <a:lnTo>
                    <a:pt x="15" y="0"/>
                  </a:lnTo>
                  <a:lnTo>
                    <a:pt x="12" y="0"/>
                  </a:lnTo>
                  <a:lnTo>
                    <a:pt x="9" y="1"/>
                  </a:lnTo>
                  <a:lnTo>
                    <a:pt x="7" y="2"/>
                  </a:lnTo>
                  <a:lnTo>
                    <a:pt x="5" y="4"/>
                  </a:lnTo>
                  <a:lnTo>
                    <a:pt x="2" y="6"/>
                  </a:lnTo>
                  <a:lnTo>
                    <a:pt x="1" y="8"/>
                  </a:lnTo>
                  <a:lnTo>
                    <a:pt x="0" y="12"/>
                  </a:lnTo>
                  <a:lnTo>
                    <a:pt x="0" y="15"/>
                  </a:lnTo>
                  <a:lnTo>
                    <a:pt x="0" y="587"/>
                  </a:lnTo>
                  <a:lnTo>
                    <a:pt x="0" y="590"/>
                  </a:lnTo>
                  <a:lnTo>
                    <a:pt x="1" y="593"/>
                  </a:lnTo>
                  <a:lnTo>
                    <a:pt x="2" y="595"/>
                  </a:lnTo>
                  <a:lnTo>
                    <a:pt x="5" y="597"/>
                  </a:lnTo>
                  <a:lnTo>
                    <a:pt x="7" y="599"/>
                  </a:lnTo>
                  <a:lnTo>
                    <a:pt x="9" y="601"/>
                  </a:lnTo>
                  <a:lnTo>
                    <a:pt x="12" y="602"/>
                  </a:lnTo>
                  <a:lnTo>
                    <a:pt x="15" y="602"/>
                  </a:lnTo>
                  <a:lnTo>
                    <a:pt x="437" y="602"/>
                  </a:lnTo>
                  <a:lnTo>
                    <a:pt x="437" y="701"/>
                  </a:lnTo>
                  <a:lnTo>
                    <a:pt x="260" y="877"/>
                  </a:lnTo>
                  <a:lnTo>
                    <a:pt x="259" y="879"/>
                  </a:lnTo>
                  <a:lnTo>
                    <a:pt x="257" y="883"/>
                  </a:lnTo>
                  <a:lnTo>
                    <a:pt x="256" y="885"/>
                  </a:lnTo>
                  <a:lnTo>
                    <a:pt x="256" y="888"/>
                  </a:lnTo>
                  <a:lnTo>
                    <a:pt x="256" y="891"/>
                  </a:lnTo>
                  <a:lnTo>
                    <a:pt x="257" y="893"/>
                  </a:lnTo>
                  <a:lnTo>
                    <a:pt x="259" y="897"/>
                  </a:lnTo>
                  <a:lnTo>
                    <a:pt x="260" y="899"/>
                  </a:lnTo>
                  <a:lnTo>
                    <a:pt x="263" y="901"/>
                  </a:lnTo>
                  <a:lnTo>
                    <a:pt x="265" y="902"/>
                  </a:lnTo>
                  <a:lnTo>
                    <a:pt x="268" y="903"/>
                  </a:lnTo>
                  <a:lnTo>
                    <a:pt x="271" y="903"/>
                  </a:lnTo>
                  <a:lnTo>
                    <a:pt x="274" y="903"/>
                  </a:lnTo>
                  <a:lnTo>
                    <a:pt x="277" y="902"/>
                  </a:lnTo>
                  <a:lnTo>
                    <a:pt x="279" y="901"/>
                  </a:lnTo>
                  <a:lnTo>
                    <a:pt x="281" y="899"/>
                  </a:lnTo>
                  <a:lnTo>
                    <a:pt x="452" y="728"/>
                  </a:lnTo>
                  <a:lnTo>
                    <a:pt x="621" y="899"/>
                  </a:lnTo>
                  <a:lnTo>
                    <a:pt x="623" y="901"/>
                  </a:lnTo>
                  <a:lnTo>
                    <a:pt x="627" y="902"/>
                  </a:lnTo>
                  <a:lnTo>
                    <a:pt x="629" y="903"/>
                  </a:lnTo>
                  <a:lnTo>
                    <a:pt x="632" y="903"/>
                  </a:lnTo>
                  <a:lnTo>
                    <a:pt x="635" y="903"/>
                  </a:lnTo>
                  <a:lnTo>
                    <a:pt x="637" y="902"/>
                  </a:lnTo>
                  <a:lnTo>
                    <a:pt x="641" y="901"/>
                  </a:lnTo>
                  <a:lnTo>
                    <a:pt x="643" y="899"/>
                  </a:lnTo>
                  <a:lnTo>
                    <a:pt x="645" y="897"/>
                  </a:lnTo>
                  <a:lnTo>
                    <a:pt x="646" y="893"/>
                  </a:lnTo>
                  <a:lnTo>
                    <a:pt x="647" y="891"/>
                  </a:lnTo>
                  <a:lnTo>
                    <a:pt x="647" y="888"/>
                  </a:lnTo>
                  <a:lnTo>
                    <a:pt x="647" y="885"/>
                  </a:lnTo>
                  <a:lnTo>
                    <a:pt x="646" y="883"/>
                  </a:lnTo>
                  <a:lnTo>
                    <a:pt x="645" y="879"/>
                  </a:lnTo>
                  <a:lnTo>
                    <a:pt x="643" y="877"/>
                  </a:lnTo>
                  <a:lnTo>
                    <a:pt x="467" y="701"/>
                  </a:lnTo>
                  <a:lnTo>
                    <a:pt x="467" y="602"/>
                  </a:lnTo>
                  <a:lnTo>
                    <a:pt x="888" y="602"/>
                  </a:lnTo>
                  <a:lnTo>
                    <a:pt x="892" y="602"/>
                  </a:lnTo>
                  <a:lnTo>
                    <a:pt x="894" y="601"/>
                  </a:lnTo>
                  <a:lnTo>
                    <a:pt x="897" y="599"/>
                  </a:lnTo>
                  <a:lnTo>
                    <a:pt x="899" y="597"/>
                  </a:lnTo>
                  <a:lnTo>
                    <a:pt x="900" y="595"/>
                  </a:lnTo>
                  <a:lnTo>
                    <a:pt x="902" y="593"/>
                  </a:lnTo>
                  <a:lnTo>
                    <a:pt x="902" y="590"/>
                  </a:lnTo>
                  <a:lnTo>
                    <a:pt x="903" y="587"/>
                  </a:lnTo>
                  <a:lnTo>
                    <a:pt x="903" y="15"/>
                  </a:lnTo>
                  <a:lnTo>
                    <a:pt x="902" y="12"/>
                  </a:lnTo>
                  <a:lnTo>
                    <a:pt x="902" y="8"/>
                  </a:lnTo>
                  <a:lnTo>
                    <a:pt x="900" y="6"/>
                  </a:lnTo>
                  <a:lnTo>
                    <a:pt x="899" y="4"/>
                  </a:lnTo>
                  <a:lnTo>
                    <a:pt x="897" y="2"/>
                  </a:lnTo>
                  <a:lnTo>
                    <a:pt x="894" y="1"/>
                  </a:lnTo>
                  <a:lnTo>
                    <a:pt x="892"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9" name="Freeform 566">
              <a:extLst>
                <a:ext uri="{FF2B5EF4-FFF2-40B4-BE49-F238E27FC236}">
                  <a16:creationId xmlns:a16="http://schemas.microsoft.com/office/drawing/2014/main" id="{B7B50F87-A3AA-4FB6-9692-24BF5512FC5B}"/>
                </a:ext>
              </a:extLst>
            </p:cNvPr>
            <p:cNvSpPr>
              <a:spLocks/>
            </p:cNvSpPr>
            <p:nvPr/>
          </p:nvSpPr>
          <p:spPr bwMode="auto">
            <a:xfrm>
              <a:off x="2054225" y="4843463"/>
              <a:ext cx="200025" cy="73025"/>
            </a:xfrm>
            <a:custGeom>
              <a:avLst/>
              <a:gdLst>
                <a:gd name="T0" fmla="*/ 151 w 632"/>
                <a:gd name="T1" fmla="*/ 151 h 226"/>
                <a:gd name="T2" fmla="*/ 157 w 632"/>
                <a:gd name="T3" fmla="*/ 149 h 226"/>
                <a:gd name="T4" fmla="*/ 161 w 632"/>
                <a:gd name="T5" fmla="*/ 146 h 226"/>
                <a:gd name="T6" fmla="*/ 288 w 632"/>
                <a:gd name="T7" fmla="*/ 217 h 226"/>
                <a:gd name="T8" fmla="*/ 292 w 632"/>
                <a:gd name="T9" fmla="*/ 223 h 226"/>
                <a:gd name="T10" fmla="*/ 299 w 632"/>
                <a:gd name="T11" fmla="*/ 226 h 226"/>
                <a:gd name="T12" fmla="*/ 302 w 632"/>
                <a:gd name="T13" fmla="*/ 226 h 226"/>
                <a:gd name="T14" fmla="*/ 307 w 632"/>
                <a:gd name="T15" fmla="*/ 225 h 226"/>
                <a:gd name="T16" fmla="*/ 313 w 632"/>
                <a:gd name="T17" fmla="*/ 222 h 226"/>
                <a:gd name="T18" fmla="*/ 471 w 632"/>
                <a:gd name="T19" fmla="*/ 191 h 226"/>
                <a:gd name="T20" fmla="*/ 477 w 632"/>
                <a:gd name="T21" fmla="*/ 195 h 226"/>
                <a:gd name="T22" fmla="*/ 483 w 632"/>
                <a:gd name="T23" fmla="*/ 196 h 226"/>
                <a:gd name="T24" fmla="*/ 488 w 632"/>
                <a:gd name="T25" fmla="*/ 194 h 226"/>
                <a:gd name="T26" fmla="*/ 494 w 632"/>
                <a:gd name="T27" fmla="*/ 191 h 226"/>
                <a:gd name="T28" fmla="*/ 631 w 632"/>
                <a:gd name="T29" fmla="*/ 23 h 226"/>
                <a:gd name="T30" fmla="*/ 632 w 632"/>
                <a:gd name="T31" fmla="*/ 16 h 226"/>
                <a:gd name="T32" fmla="*/ 632 w 632"/>
                <a:gd name="T33" fmla="*/ 11 h 226"/>
                <a:gd name="T34" fmla="*/ 629 w 632"/>
                <a:gd name="T35" fmla="*/ 5 h 226"/>
                <a:gd name="T36" fmla="*/ 625 w 632"/>
                <a:gd name="T37" fmla="*/ 2 h 226"/>
                <a:gd name="T38" fmla="*/ 619 w 632"/>
                <a:gd name="T39" fmla="*/ 0 h 226"/>
                <a:gd name="T40" fmla="*/ 613 w 632"/>
                <a:gd name="T41" fmla="*/ 1 h 226"/>
                <a:gd name="T42" fmla="*/ 607 w 632"/>
                <a:gd name="T43" fmla="*/ 3 h 226"/>
                <a:gd name="T44" fmla="*/ 481 w 632"/>
                <a:gd name="T45" fmla="*/ 159 h 226"/>
                <a:gd name="T46" fmla="*/ 415 w 632"/>
                <a:gd name="T47" fmla="*/ 93 h 226"/>
                <a:gd name="T48" fmla="*/ 409 w 632"/>
                <a:gd name="T49" fmla="*/ 91 h 226"/>
                <a:gd name="T50" fmla="*/ 404 w 632"/>
                <a:gd name="T51" fmla="*/ 91 h 226"/>
                <a:gd name="T52" fmla="*/ 398 w 632"/>
                <a:gd name="T53" fmla="*/ 93 h 226"/>
                <a:gd name="T54" fmla="*/ 307 w 632"/>
                <a:gd name="T55" fmla="*/ 185 h 226"/>
                <a:gd name="T56" fmla="*/ 247 w 632"/>
                <a:gd name="T57" fmla="*/ 39 h 226"/>
                <a:gd name="T58" fmla="*/ 242 w 632"/>
                <a:gd name="T59" fmla="*/ 34 h 226"/>
                <a:gd name="T60" fmla="*/ 234 w 632"/>
                <a:gd name="T61" fmla="*/ 33 h 226"/>
                <a:gd name="T62" fmla="*/ 227 w 632"/>
                <a:gd name="T63" fmla="*/ 35 h 226"/>
                <a:gd name="T64" fmla="*/ 144 w 632"/>
                <a:gd name="T65" fmla="*/ 121 h 226"/>
                <a:gd name="T66" fmla="*/ 12 w 632"/>
                <a:gd name="T67" fmla="*/ 121 h 226"/>
                <a:gd name="T68" fmla="*/ 7 w 632"/>
                <a:gd name="T69" fmla="*/ 123 h 226"/>
                <a:gd name="T70" fmla="*/ 3 w 632"/>
                <a:gd name="T71" fmla="*/ 128 h 226"/>
                <a:gd name="T72" fmla="*/ 0 w 632"/>
                <a:gd name="T73" fmla="*/ 133 h 226"/>
                <a:gd name="T74" fmla="*/ 0 w 632"/>
                <a:gd name="T75" fmla="*/ 138 h 226"/>
                <a:gd name="T76" fmla="*/ 3 w 632"/>
                <a:gd name="T77" fmla="*/ 144 h 226"/>
                <a:gd name="T78" fmla="*/ 7 w 632"/>
                <a:gd name="T79" fmla="*/ 148 h 226"/>
                <a:gd name="T80" fmla="*/ 12 w 632"/>
                <a:gd name="T81" fmla="*/ 150 h 226"/>
                <a:gd name="T82" fmla="*/ 15 w 632"/>
                <a:gd name="T83" fmla="*/ 15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226">
                  <a:moveTo>
                    <a:pt x="15" y="151"/>
                  </a:moveTo>
                  <a:lnTo>
                    <a:pt x="151" y="151"/>
                  </a:lnTo>
                  <a:lnTo>
                    <a:pt x="154" y="150"/>
                  </a:lnTo>
                  <a:lnTo>
                    <a:pt x="157" y="149"/>
                  </a:lnTo>
                  <a:lnTo>
                    <a:pt x="159" y="148"/>
                  </a:lnTo>
                  <a:lnTo>
                    <a:pt x="161" y="146"/>
                  </a:lnTo>
                  <a:lnTo>
                    <a:pt x="230" y="75"/>
                  </a:lnTo>
                  <a:lnTo>
                    <a:pt x="288" y="217"/>
                  </a:lnTo>
                  <a:lnTo>
                    <a:pt x="289" y="220"/>
                  </a:lnTo>
                  <a:lnTo>
                    <a:pt x="292" y="223"/>
                  </a:lnTo>
                  <a:lnTo>
                    <a:pt x="294" y="224"/>
                  </a:lnTo>
                  <a:lnTo>
                    <a:pt x="299" y="226"/>
                  </a:lnTo>
                  <a:lnTo>
                    <a:pt x="300" y="226"/>
                  </a:lnTo>
                  <a:lnTo>
                    <a:pt x="302" y="226"/>
                  </a:lnTo>
                  <a:lnTo>
                    <a:pt x="304" y="226"/>
                  </a:lnTo>
                  <a:lnTo>
                    <a:pt x="307" y="225"/>
                  </a:lnTo>
                  <a:lnTo>
                    <a:pt x="309" y="223"/>
                  </a:lnTo>
                  <a:lnTo>
                    <a:pt x="313" y="222"/>
                  </a:lnTo>
                  <a:lnTo>
                    <a:pt x="407" y="127"/>
                  </a:lnTo>
                  <a:lnTo>
                    <a:pt x="471" y="191"/>
                  </a:lnTo>
                  <a:lnTo>
                    <a:pt x="473" y="193"/>
                  </a:lnTo>
                  <a:lnTo>
                    <a:pt x="477" y="195"/>
                  </a:lnTo>
                  <a:lnTo>
                    <a:pt x="480" y="196"/>
                  </a:lnTo>
                  <a:lnTo>
                    <a:pt x="483" y="196"/>
                  </a:lnTo>
                  <a:lnTo>
                    <a:pt x="486" y="195"/>
                  </a:lnTo>
                  <a:lnTo>
                    <a:pt x="488" y="194"/>
                  </a:lnTo>
                  <a:lnTo>
                    <a:pt x="492" y="193"/>
                  </a:lnTo>
                  <a:lnTo>
                    <a:pt x="494" y="191"/>
                  </a:lnTo>
                  <a:lnTo>
                    <a:pt x="629" y="25"/>
                  </a:lnTo>
                  <a:lnTo>
                    <a:pt x="631" y="23"/>
                  </a:lnTo>
                  <a:lnTo>
                    <a:pt x="632" y="19"/>
                  </a:lnTo>
                  <a:lnTo>
                    <a:pt x="632" y="16"/>
                  </a:lnTo>
                  <a:lnTo>
                    <a:pt x="632" y="14"/>
                  </a:lnTo>
                  <a:lnTo>
                    <a:pt x="632" y="11"/>
                  </a:lnTo>
                  <a:lnTo>
                    <a:pt x="631" y="9"/>
                  </a:lnTo>
                  <a:lnTo>
                    <a:pt x="629" y="5"/>
                  </a:lnTo>
                  <a:lnTo>
                    <a:pt x="627" y="3"/>
                  </a:lnTo>
                  <a:lnTo>
                    <a:pt x="625" y="2"/>
                  </a:lnTo>
                  <a:lnTo>
                    <a:pt x="621" y="1"/>
                  </a:lnTo>
                  <a:lnTo>
                    <a:pt x="619" y="0"/>
                  </a:lnTo>
                  <a:lnTo>
                    <a:pt x="616" y="0"/>
                  </a:lnTo>
                  <a:lnTo>
                    <a:pt x="613" y="1"/>
                  </a:lnTo>
                  <a:lnTo>
                    <a:pt x="611" y="2"/>
                  </a:lnTo>
                  <a:lnTo>
                    <a:pt x="607" y="3"/>
                  </a:lnTo>
                  <a:lnTo>
                    <a:pt x="605" y="5"/>
                  </a:lnTo>
                  <a:lnTo>
                    <a:pt x="481" y="159"/>
                  </a:lnTo>
                  <a:lnTo>
                    <a:pt x="418" y="95"/>
                  </a:lnTo>
                  <a:lnTo>
                    <a:pt x="415" y="93"/>
                  </a:lnTo>
                  <a:lnTo>
                    <a:pt x="412" y="91"/>
                  </a:lnTo>
                  <a:lnTo>
                    <a:pt x="409" y="91"/>
                  </a:lnTo>
                  <a:lnTo>
                    <a:pt x="407" y="90"/>
                  </a:lnTo>
                  <a:lnTo>
                    <a:pt x="404" y="91"/>
                  </a:lnTo>
                  <a:lnTo>
                    <a:pt x="400" y="91"/>
                  </a:lnTo>
                  <a:lnTo>
                    <a:pt x="398" y="93"/>
                  </a:lnTo>
                  <a:lnTo>
                    <a:pt x="396" y="95"/>
                  </a:lnTo>
                  <a:lnTo>
                    <a:pt x="307" y="185"/>
                  </a:lnTo>
                  <a:lnTo>
                    <a:pt x="249" y="42"/>
                  </a:lnTo>
                  <a:lnTo>
                    <a:pt x="247" y="39"/>
                  </a:lnTo>
                  <a:lnTo>
                    <a:pt x="244" y="36"/>
                  </a:lnTo>
                  <a:lnTo>
                    <a:pt x="242" y="34"/>
                  </a:lnTo>
                  <a:lnTo>
                    <a:pt x="237" y="33"/>
                  </a:lnTo>
                  <a:lnTo>
                    <a:pt x="234" y="33"/>
                  </a:lnTo>
                  <a:lnTo>
                    <a:pt x="230" y="33"/>
                  </a:lnTo>
                  <a:lnTo>
                    <a:pt x="227" y="35"/>
                  </a:lnTo>
                  <a:lnTo>
                    <a:pt x="224" y="38"/>
                  </a:lnTo>
                  <a:lnTo>
                    <a:pt x="144" y="121"/>
                  </a:lnTo>
                  <a:lnTo>
                    <a:pt x="15" y="121"/>
                  </a:lnTo>
                  <a:lnTo>
                    <a:pt x="12" y="121"/>
                  </a:lnTo>
                  <a:lnTo>
                    <a:pt x="9" y="122"/>
                  </a:lnTo>
                  <a:lnTo>
                    <a:pt x="7" y="123"/>
                  </a:lnTo>
                  <a:lnTo>
                    <a:pt x="5" y="126"/>
                  </a:lnTo>
                  <a:lnTo>
                    <a:pt x="3" y="128"/>
                  </a:lnTo>
                  <a:lnTo>
                    <a:pt x="2" y="130"/>
                  </a:lnTo>
                  <a:lnTo>
                    <a:pt x="0" y="133"/>
                  </a:lnTo>
                  <a:lnTo>
                    <a:pt x="0" y="136"/>
                  </a:lnTo>
                  <a:lnTo>
                    <a:pt x="0" y="138"/>
                  </a:lnTo>
                  <a:lnTo>
                    <a:pt x="2" y="142"/>
                  </a:lnTo>
                  <a:lnTo>
                    <a:pt x="3" y="144"/>
                  </a:lnTo>
                  <a:lnTo>
                    <a:pt x="5" y="146"/>
                  </a:lnTo>
                  <a:lnTo>
                    <a:pt x="7" y="148"/>
                  </a:lnTo>
                  <a:lnTo>
                    <a:pt x="9" y="150"/>
                  </a:lnTo>
                  <a:lnTo>
                    <a:pt x="12" y="150"/>
                  </a:lnTo>
                  <a:lnTo>
                    <a:pt x="15" y="151"/>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Light"/>
                <a:ea typeface="+mn-ea"/>
                <a:cs typeface="+mn-cs"/>
              </a:endParaRPr>
            </a:p>
          </p:txBody>
        </p:sp>
      </p:grpSp>
    </p:spTree>
    <p:extLst>
      <p:ext uri="{BB962C8B-B14F-4D97-AF65-F5344CB8AC3E}">
        <p14:creationId xmlns:p14="http://schemas.microsoft.com/office/powerpoint/2010/main" val="304321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F8CB122-C994-4093-B9E2-8615EB8CECED}" vid="{8A0307D0-69F3-4CB2-B616-44A635DE1A63}"/>
    </a:ext>
  </a:extLst>
</a:theme>
</file>

<file path=ppt/theme/theme3.xml><?xml version="1.0" encoding="utf-8"?>
<a:theme xmlns:a="http://schemas.openxmlformats.org/drawingml/2006/main" name="1_Office Theme">
  <a:themeElements>
    <a:clrScheme name="Custom 73">
      <a:dk1>
        <a:srgbClr val="000000"/>
      </a:dk1>
      <a:lt1>
        <a:sysClr val="window" lastClr="FFFFFF"/>
      </a:lt1>
      <a:dk2>
        <a:srgbClr val="585858"/>
      </a:dk2>
      <a:lt2>
        <a:srgbClr val="E3E3E3"/>
      </a:lt2>
      <a:accent1>
        <a:srgbClr val="E20613"/>
      </a:accent1>
      <a:accent2>
        <a:srgbClr val="A9C038"/>
      </a:accent2>
      <a:accent3>
        <a:srgbClr val="11AEC7"/>
      </a:accent3>
      <a:accent4>
        <a:srgbClr val="F59F26"/>
      </a:accent4>
      <a:accent5>
        <a:srgbClr val="0062A9"/>
      </a:accent5>
      <a:accent6>
        <a:srgbClr val="EB6047"/>
      </a:accent6>
      <a:hlink>
        <a:srgbClr val="8ED9F6"/>
      </a:hlink>
      <a:folHlink>
        <a:srgbClr val="C00000"/>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455520_Project analysis, from 24Slides_SL_V1.potx" id="{55E7247F-78B2-40DB-9AFE-D4DD42FA8F09}" vid="{22E2FD65-A32D-4798-AF43-CE42F250BDD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15</TotalTime>
  <Words>41</Words>
  <Application>Microsoft Office PowerPoint</Application>
  <PresentationFormat>Widescreen</PresentationFormat>
  <Paragraphs>14</Paragraphs>
  <Slides>11</Slides>
  <Notes>8</Notes>
  <HiddenSlides>0</HiddenSlides>
  <MMClips>5</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4" baseType="lpstr">
      <vt:lpstr>Arial</vt:lpstr>
      <vt:lpstr>Calibri</vt:lpstr>
      <vt:lpstr>Calibri Light</vt:lpstr>
      <vt:lpstr>Century Gothic</vt:lpstr>
      <vt:lpstr>Segoe UI</vt:lpstr>
      <vt:lpstr>Segoe UI Light</vt:lpstr>
      <vt:lpstr>Segoe UI Semibold</vt:lpstr>
      <vt:lpstr>Segoe UI Semilight</vt:lpstr>
      <vt:lpstr>Wingdings</vt:lpstr>
      <vt:lpstr>Office Theme</vt:lpstr>
      <vt:lpstr>9-51052_Microsoft_Ready_Template_Light</vt:lpstr>
      <vt:lpstr>1_Office Theme</vt:lpstr>
      <vt:lpstr>think-cell Slide</vt:lpstr>
      <vt:lpstr>Azure Responsible AI (RAI) dashboard Ruth Yakubu  (Cloud Advocate)</vt:lpstr>
      <vt:lpstr>PowerPoint Presentation</vt:lpstr>
      <vt:lpstr> Error Analysis </vt:lpstr>
      <vt:lpstr>PowerPoint Presentation</vt:lpstr>
      <vt:lpstr> Model Overview </vt:lpstr>
      <vt:lpstr>PowerPoint Presentation</vt:lpstr>
      <vt:lpstr> Data Analysis </vt:lpstr>
      <vt:lpstr>PowerPoint Presentation</vt:lpstr>
      <vt:lpstr> Feature Importance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world today…</dc:title>
  <dc:creator>Ruth Yakubu</dc:creator>
  <cp:lastModifiedBy>Ruth Yakubu</cp:lastModifiedBy>
  <cp:revision>3</cp:revision>
  <dcterms:created xsi:type="dcterms:W3CDTF">2023-02-16T11:00:14Z</dcterms:created>
  <dcterms:modified xsi:type="dcterms:W3CDTF">2023-02-21T13:56:15Z</dcterms:modified>
</cp:coreProperties>
</file>